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6.xml" ContentType="application/vnd.openxmlformats-officedocument.them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8.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9.xml" ContentType="application/vnd.openxmlformats-officedocument.theme+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0.xml" ContentType="application/vnd.openxmlformats-officedocument.them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1.xml" ContentType="application/vnd.openxmlformats-officedocument.theme+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2.xml" ContentType="application/vnd.openxmlformats-officedocument.theme+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3.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4.xml" ContentType="application/vnd.openxmlformats-officedocument.theme+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15.xml" ContentType="application/vnd.openxmlformats-officedocument.theme+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heme/themeOverride1.xml" ContentType="application/vnd.openxmlformats-officedocument.themeOverride+xml"/>
  <Override PartName="/ppt/tags/tag661.xml" ContentType="application/vnd.openxmlformats-officedocument.presentationml.tags+xml"/>
  <Override PartName="/ppt/tags/tag662.xml" ContentType="application/vnd.openxmlformats-officedocument.presentationml.tags+xml"/>
  <Override PartName="/ppt/theme/themeOverride2.xml" ContentType="application/vnd.openxmlformats-officedocument.themeOverride+xml"/>
  <Override PartName="/ppt/tags/tag663.xml" ContentType="application/vnd.openxmlformats-officedocument.presentationml.tags+xml"/>
  <Override PartName="/ppt/tags/tag664.xml" ContentType="application/vnd.openxmlformats-officedocument.presentationml.tags+xml"/>
  <Override PartName="/ppt/theme/themeOverride3.xml" ContentType="application/vnd.openxmlformats-officedocument.themeOverride+xml"/>
  <Override PartName="/ppt/tags/tag665.xml" ContentType="application/vnd.openxmlformats-officedocument.presentationml.tags+xml"/>
  <Override PartName="/ppt/tags/tag666.xml" ContentType="application/vnd.openxmlformats-officedocument.presentationml.tags+xml"/>
  <Override PartName="/ppt/theme/themeOverride4.xml" ContentType="application/vnd.openxmlformats-officedocument.themeOverride+xml"/>
  <Override PartName="/ppt/tags/tag667.xml" ContentType="application/vnd.openxmlformats-officedocument.presentationml.tags+xml"/>
  <Override PartName="/ppt/tags/tag668.xml" ContentType="application/vnd.openxmlformats-officedocument.presentationml.tags+xml"/>
  <Override PartName="/ppt/theme/themeOverride5.xml" ContentType="application/vnd.openxmlformats-officedocument.themeOverride+xml"/>
  <Override PartName="/ppt/tags/tag669.xml" ContentType="application/vnd.openxmlformats-officedocument.presentationml.tags+xml"/>
  <Override PartName="/ppt/tags/tag670.xml" ContentType="application/vnd.openxmlformats-officedocument.presentationml.tags+xml"/>
  <Override PartName="/ppt/theme/themeOverride6.xml" ContentType="application/vnd.openxmlformats-officedocument.themeOverride+xml"/>
  <Override PartName="/ppt/tags/tag671.xml" ContentType="application/vnd.openxmlformats-officedocument.presentationml.tags+xml"/>
  <Override PartName="/ppt/tags/tag672.xml" ContentType="application/vnd.openxmlformats-officedocument.presentationml.tags+xml"/>
  <Override PartName="/ppt/theme/themeOverride7.xml" ContentType="application/vnd.openxmlformats-officedocument.themeOverride+xml"/>
  <Override PartName="/ppt/tags/tag673.xml" ContentType="application/vnd.openxmlformats-officedocument.presentationml.tags+xml"/>
  <Override PartName="/ppt/tags/tag674.xml" ContentType="application/vnd.openxmlformats-officedocument.presentationml.tags+xml"/>
  <Override PartName="/ppt/theme/themeOverride8.xml" ContentType="application/vnd.openxmlformats-officedocument.themeOverride+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heme/themeOverride9.xml" ContentType="application/vnd.openxmlformats-officedocument.themeOverr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heme/themeOverride10.xml" ContentType="application/vnd.openxmlformats-officedocument.themeOverride+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heme/themeOverride11.xml" ContentType="application/vnd.openxmlformats-officedocument.themeOverride+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heme/themeOverride12.xml" ContentType="application/vnd.openxmlformats-officedocument.themeOverride+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heme/themeOverride13.xml" ContentType="application/vnd.openxmlformats-officedocument.themeOverrid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heme/themeOverride14.xml" ContentType="application/vnd.openxmlformats-officedocument.themeOverride+xml"/>
  <Override PartName="/ppt/tags/tag715.xml" ContentType="application/vnd.openxmlformats-officedocument.presentationml.tags+xml"/>
  <Override PartName="/ppt/tags/tag716.xml" ContentType="application/vnd.openxmlformats-officedocument.presentationml.tags+xml"/>
  <Override PartName="/ppt/theme/themeOverride15.xml" ContentType="application/vnd.openxmlformats-officedocument.themeOverride+xml"/>
  <Override PartName="/ppt/tags/tag717.xml" ContentType="application/vnd.openxmlformats-officedocument.presentationml.tags+xml"/>
  <Override PartName="/ppt/tags/tag718.xml" ContentType="application/vnd.openxmlformats-officedocument.presentationml.tags+xml"/>
  <Override PartName="/ppt/theme/themeOverride16.xml" ContentType="application/vnd.openxmlformats-officedocument.themeOverride+xml"/>
  <Override PartName="/ppt/tags/tag719.xml" ContentType="application/vnd.openxmlformats-officedocument.presentationml.tags+xml"/>
  <Override PartName="/ppt/tags/tag720.xml" ContentType="application/vnd.openxmlformats-officedocument.presentationml.tags+xml"/>
  <Override PartName="/ppt/theme/themeOverride17.xml" ContentType="application/vnd.openxmlformats-officedocument.themeOverride+xml"/>
  <Override PartName="/ppt/tags/tag721.xml" ContentType="application/vnd.openxmlformats-officedocument.presentationml.tags+xml"/>
  <Override PartName="/ppt/tags/tag722.xml" ContentType="application/vnd.openxmlformats-officedocument.presentationml.tags+xml"/>
  <Override PartName="/ppt/theme/themeOverride18.xml" ContentType="application/vnd.openxmlformats-officedocument.themeOverride+xml"/>
  <Override PartName="/ppt/tags/tag723.xml" ContentType="application/vnd.openxmlformats-officedocument.presentationml.tags+xml"/>
  <Override PartName="/ppt/tags/tag724.xml" ContentType="application/vnd.openxmlformats-officedocument.presentationml.tags+xml"/>
  <Override PartName="/ppt/theme/themeOverride19.xml" ContentType="application/vnd.openxmlformats-officedocument.themeOverride+xml"/>
  <Override PartName="/ppt/tags/tag725.xml" ContentType="application/vnd.openxmlformats-officedocument.presentationml.tags+xml"/>
  <Override PartName="/ppt/tags/tag726.xml" ContentType="application/vnd.openxmlformats-officedocument.presentationml.tags+xml"/>
  <Override PartName="/ppt/theme/themeOverride20.xml" ContentType="application/vnd.openxmlformats-officedocument.themeOverride+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heme/themeOverride21.xml" ContentType="application/vnd.openxmlformats-officedocument.themeOverride+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heme/themeOverride22.xml" ContentType="application/vnd.openxmlformats-officedocument.themeOverride+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heme/themeOverride23.xml" ContentType="application/vnd.openxmlformats-officedocument.themeOverride+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heme/themeOverride24.xml" ContentType="application/vnd.openxmlformats-officedocument.themeOverride+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heme/themeOverride25.xml" ContentType="application/vnd.openxmlformats-officedocument.themeOverride+xml"/>
  <Override PartName="/ppt/tags/tag750.xml" ContentType="application/vnd.openxmlformats-officedocument.presentationml.tags+xml"/>
  <Override PartName="/ppt/theme/themeOverride26.xml" ContentType="application/vnd.openxmlformats-officedocument.themeOverrid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heme/themeOverride27.xml" ContentType="application/vnd.openxmlformats-officedocument.themeOverride+xml"/>
  <Override PartName="/ppt/tags/tag756.xml" ContentType="application/vnd.openxmlformats-officedocument.presentationml.tags+xml"/>
  <Override PartName="/ppt/tags/tag757.xml" ContentType="application/vnd.openxmlformats-officedocument.presentationml.tags+xml"/>
  <Override PartName="/ppt/theme/themeOverride28.xml" ContentType="application/vnd.openxmlformats-officedocument.themeOverride+xml"/>
  <Override PartName="/ppt/tags/tag758.xml" ContentType="application/vnd.openxmlformats-officedocument.presentationml.tags+xml"/>
  <Override PartName="/ppt/theme/themeOverride29.xml" ContentType="application/vnd.openxmlformats-officedocument.themeOverride+xml"/>
  <Override PartName="/ppt/tags/tag759.xml" ContentType="application/vnd.openxmlformats-officedocument.presentationml.tags+xml"/>
  <Override PartName="/ppt/theme/themeOverride30.xml" ContentType="application/vnd.openxmlformats-officedocument.themeOverride+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heme/themeOverride31.xml" ContentType="application/vnd.openxmlformats-officedocument.themeOverride+xml"/>
  <Override PartName="/ppt/tags/tag765.xml" ContentType="application/vnd.openxmlformats-officedocument.presentationml.tags+xml"/>
  <Override PartName="/ppt/theme/themeOverride32.xml" ContentType="application/vnd.openxmlformats-officedocument.themeOverride+xml"/>
  <Override PartName="/ppt/tags/tag766.xml" ContentType="application/vnd.openxmlformats-officedocument.presentationml.tags+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5"/>
    <p:sldMasterId id="2147483739" r:id="rId6"/>
    <p:sldMasterId id="2147483745" r:id="rId7"/>
    <p:sldMasterId id="2147483759" r:id="rId8"/>
    <p:sldMasterId id="2147483831" r:id="rId9"/>
    <p:sldMasterId id="2147483905" r:id="rId10"/>
    <p:sldMasterId id="2147483981" r:id="rId11"/>
    <p:sldMasterId id="2147484008" r:id="rId12"/>
    <p:sldMasterId id="2147484026" r:id="rId13"/>
    <p:sldMasterId id="2147484032" r:id="rId14"/>
    <p:sldMasterId id="2147484053" r:id="rId15"/>
    <p:sldMasterId id="2147484103" r:id="rId16"/>
    <p:sldMasterId id="2147484113" r:id="rId17"/>
    <p:sldMasterId id="2147484125" r:id="rId18"/>
    <p:sldMasterId id="2147484131" r:id="rId19"/>
  </p:sldMasterIdLst>
  <p:notesMasterIdLst>
    <p:notesMasterId r:id="rId47"/>
  </p:notesMasterIdLst>
  <p:sldIdLst>
    <p:sldId id="724" r:id="rId20"/>
    <p:sldId id="736" r:id="rId21"/>
    <p:sldId id="737" r:id="rId22"/>
    <p:sldId id="742" r:id="rId23"/>
    <p:sldId id="743" r:id="rId24"/>
    <p:sldId id="744" r:id="rId25"/>
    <p:sldId id="745" r:id="rId26"/>
    <p:sldId id="746" r:id="rId27"/>
    <p:sldId id="747" r:id="rId28"/>
    <p:sldId id="748" r:id="rId29"/>
    <p:sldId id="749" r:id="rId30"/>
    <p:sldId id="750" r:id="rId31"/>
    <p:sldId id="751" r:id="rId32"/>
    <p:sldId id="753" r:id="rId33"/>
    <p:sldId id="752" r:id="rId34"/>
    <p:sldId id="754" r:id="rId35"/>
    <p:sldId id="755" r:id="rId36"/>
    <p:sldId id="756" r:id="rId37"/>
    <p:sldId id="757" r:id="rId38"/>
    <p:sldId id="758" r:id="rId39"/>
    <p:sldId id="759" r:id="rId40"/>
    <p:sldId id="760" r:id="rId41"/>
    <p:sldId id="761" r:id="rId42"/>
    <p:sldId id="762" r:id="rId43"/>
    <p:sldId id="763" r:id="rId44"/>
    <p:sldId id="764" r:id="rId45"/>
    <p:sldId id="765"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4A6B03-CFB2-B8BF-11F0-F23270B344A2}" name="Cornelia Adlhoch" initials="CA" userId="S::cornelia.adlhoch@ecdc.europa.eu::b3f58075-7e25-41ff-9049-75df9b63f7c6" providerId="AD"/>
  <p188:author id="{A4BF0E43-AE62-CC6C-6CDE-EF620E1E102B}" name="Veronica Cristea" initials="VC" userId="S::Veronica.Cristea@ecdc.europa.eu::a459633a-efaa-457d-8035-cc025f252898" providerId="AD"/>
  <p188:author id="{8249F14D-D0AC-746B-135C-E62503B80E35}" name="Marieke van der Werf" initials="MvdW" userId="S::Marieke.vanderWerf@ecdc.europa.eu::1e24bfb6-7cbc-4c0e-9017-f2a420c643ec" providerId="AD"/>
  <p188:author id="{472B456B-B5BC-4797-CA88-30821F097BFC}" name="Annette Kraus" initials="AK" userId="S::Annette.Kraus@ecdc.europa.eu::e89d5bc2-fcf6-4873-883b-8d235de770da" providerId="AD"/>
  <p188:author id="{9D880087-4BB9-F6DB-A548-F946E854566E}" name="Anastasia Pharris" initials="AP" userId="S::Anastasia.Pharris@ecdc.europa.eu::0e2f6954-7491-443c-bfa0-62bad654e75e" providerId="AD"/>
  <p188:author id="{B20D1DC0-3423-2299-0A8D-35B42C53ED09}" name="Anastasia Pharris" initials="AP" userId="Anastasia Pharris" providerId="None"/>
  <p188:author id="{439A2AEE-900A-3E5B-1BB5-124850C63405}" name="Veronica Cristea" initials="VC" userId="S::veronica.cristea@ecdc.europa.eu::a459633a-efaa-457d-8035-cc025f25289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rik Alm" initials="EA" lastIdx="1" clrIdx="0">
    <p:extLst>
      <p:ext uri="{19B8F6BF-5375-455C-9EA6-DF929625EA0E}">
        <p15:presenceInfo xmlns:p15="http://schemas.microsoft.com/office/powerpoint/2012/main" userId="S::Erik.Alm@ecdc.europa.eu::a7b9e5e2-a910-44d2-9122-f833e324dea0" providerId="AD"/>
      </p:ext>
    </p:extLst>
  </p:cmAuthor>
  <p:cmAuthor id="2" name="Bruno Coignard" initials="BC" lastIdx="2" clrIdx="1">
    <p:extLst>
      <p:ext uri="{19B8F6BF-5375-455C-9EA6-DF929625EA0E}">
        <p15:presenceInfo xmlns:p15="http://schemas.microsoft.com/office/powerpoint/2012/main" userId="Bruno Coignard" providerId="None"/>
      </p:ext>
    </p:extLst>
  </p:cmAuthor>
  <p:cmAuthor id="3" name="MAISA Anna" initials="MA" lastIdx="43" clrIdx="2">
    <p:extLst>
      <p:ext uri="{19B8F6BF-5375-455C-9EA6-DF929625EA0E}">
        <p15:presenceInfo xmlns:p15="http://schemas.microsoft.com/office/powerpoint/2012/main" userId="MAISA An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1F7530-E3B0-467B-B2B2-C3F4FA67BB1A}" v="1" dt="2024-03-14T06:52:10.7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notesMaster" Target="notesMasters/notesMaster1.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0.xml"/><Relationship Id="rId11" Type="http://schemas.openxmlformats.org/officeDocument/2006/relationships/slideMaster" Target="slideMasters/slideMaster7.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microsoft.com/office/2016/11/relationships/changesInfo" Target="changesInfos/changesInfo1.xml"/><Relationship Id="rId5" Type="http://schemas.openxmlformats.org/officeDocument/2006/relationships/slideMaster" Target="slideMasters/slideMaster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20" Type="http://schemas.openxmlformats.org/officeDocument/2006/relationships/slide" Target="slides/slide1.xml"/><Relationship Id="rId41" Type="http://schemas.openxmlformats.org/officeDocument/2006/relationships/slide" Target="slides/slide22.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onica Cristea" userId="a459633a-efaa-457d-8035-cc025f252898" providerId="ADAL" clId="{4A1F7530-E3B0-467B-B2B2-C3F4FA67BB1A}"/>
    <pc:docChg chg="custSel modSld">
      <pc:chgData name="Veronica Cristea" userId="a459633a-efaa-457d-8035-cc025f252898" providerId="ADAL" clId="{4A1F7530-E3B0-467B-B2B2-C3F4FA67BB1A}" dt="2024-03-14T07:24:57.871" v="94" actId="20577"/>
      <pc:docMkLst>
        <pc:docMk/>
      </pc:docMkLst>
      <pc:sldChg chg="delCm">
        <pc:chgData name="Veronica Cristea" userId="a459633a-efaa-457d-8035-cc025f252898" providerId="ADAL" clId="{4A1F7530-E3B0-467B-B2B2-C3F4FA67BB1A}" dt="2024-03-14T06:41:00.710" v="0"/>
        <pc:sldMkLst>
          <pc:docMk/>
          <pc:sldMk cId="1842872944" sldId="736"/>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00.710" v="0"/>
              <pc2:cmMkLst xmlns:pc2="http://schemas.microsoft.com/office/powerpoint/2019/9/main/command">
                <pc:docMk/>
                <pc:sldMk cId="1842872944" sldId="736"/>
                <pc2:cmMk id="{CBE38BCA-3546-49F3-A823-92DC92818F88}"/>
              </pc2:cmMkLst>
            </pc226:cmChg>
          </p:ext>
        </pc:extLst>
      </pc:sldChg>
      <pc:sldChg chg="addSp delSp modSp mod delCm">
        <pc:chgData name="Veronica Cristea" userId="a459633a-efaa-457d-8035-cc025f252898" providerId="ADAL" clId="{4A1F7530-E3B0-467B-B2B2-C3F4FA67BB1A}" dt="2024-03-14T06:53:36.943" v="32" actId="20577"/>
        <pc:sldMkLst>
          <pc:docMk/>
          <pc:sldMk cId="3068045228" sldId="737"/>
        </pc:sldMkLst>
        <pc:spChg chg="mod">
          <ac:chgData name="Veronica Cristea" userId="a459633a-efaa-457d-8035-cc025f252898" providerId="ADAL" clId="{4A1F7530-E3B0-467B-B2B2-C3F4FA67BB1A}" dt="2024-03-14T06:53:36.943" v="32" actId="20577"/>
          <ac:spMkLst>
            <pc:docMk/>
            <pc:sldMk cId="3068045228" sldId="737"/>
            <ac:spMk id="2" creationId="{ED8A13BF-C73E-053F-B366-C90A55A6647A}"/>
          </ac:spMkLst>
        </pc:spChg>
        <pc:picChg chg="add mod">
          <ac:chgData name="Veronica Cristea" userId="a459633a-efaa-457d-8035-cc025f252898" providerId="ADAL" clId="{4A1F7530-E3B0-467B-B2B2-C3F4FA67BB1A}" dt="2024-03-14T06:52:20.981" v="30" actId="1076"/>
          <ac:picMkLst>
            <pc:docMk/>
            <pc:sldMk cId="3068045228" sldId="737"/>
            <ac:picMk id="3" creationId="{170C56CE-CA8B-A84D-9338-3F627F5EB87C}"/>
          </ac:picMkLst>
        </pc:picChg>
        <pc:picChg chg="del">
          <ac:chgData name="Veronica Cristea" userId="a459633a-efaa-457d-8035-cc025f252898" providerId="ADAL" clId="{4A1F7530-E3B0-467B-B2B2-C3F4FA67BB1A}" dt="2024-03-14T06:52:07.356" v="25" actId="478"/>
          <ac:picMkLst>
            <pc:docMk/>
            <pc:sldMk cId="3068045228" sldId="737"/>
            <ac:picMk id="8" creationId="{633C4653-69B1-C692-43EE-7901FC1E695B}"/>
          </ac:picMkLst>
        </pc:picChg>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07.294" v="1"/>
              <pc2:cmMkLst xmlns:pc2="http://schemas.microsoft.com/office/powerpoint/2019/9/main/command">
                <pc:docMk/>
                <pc:sldMk cId="3068045228" sldId="737"/>
                <pc2:cmMk id="{BA99CB5E-12A9-40BC-80BA-6817D812DF56}"/>
              </pc2:cmMkLst>
            </pc226:cmChg>
            <pc226:cmChg xmlns:pc226="http://schemas.microsoft.com/office/powerpoint/2022/06/main/command" chg="del">
              <pc226:chgData name="Veronica Cristea" userId="a459633a-efaa-457d-8035-cc025f252898" providerId="ADAL" clId="{4A1F7530-E3B0-467B-B2B2-C3F4FA67BB1A}" dt="2024-03-14T06:41:08.310" v="2"/>
              <pc2:cmMkLst xmlns:pc2="http://schemas.microsoft.com/office/powerpoint/2019/9/main/command">
                <pc:docMk/>
                <pc:sldMk cId="3068045228" sldId="737"/>
                <pc2:cmMk id="{FBD4399D-0FAD-4AAE-A09C-E50B4BC7AD6D}"/>
              </pc2:cmMkLst>
            </pc226:cmChg>
          </p:ext>
        </pc:extLst>
      </pc:sldChg>
      <pc:sldChg chg="delCm">
        <pc:chgData name="Veronica Cristea" userId="a459633a-efaa-457d-8035-cc025f252898" providerId="ADAL" clId="{4A1F7530-E3B0-467B-B2B2-C3F4FA67BB1A}" dt="2024-03-14T06:41:12.081" v="3"/>
        <pc:sldMkLst>
          <pc:docMk/>
          <pc:sldMk cId="2909695717" sldId="742"/>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12.081" v="3"/>
              <pc2:cmMkLst xmlns:pc2="http://schemas.microsoft.com/office/powerpoint/2019/9/main/command">
                <pc:docMk/>
                <pc:sldMk cId="2909695717" sldId="742"/>
                <pc2:cmMk id="{8265C3E1-42ED-44FB-86DE-3522A5A9BF7D}"/>
              </pc2:cmMkLst>
            </pc226:cmChg>
          </p:ext>
        </pc:extLst>
      </pc:sldChg>
      <pc:sldChg chg="delCm">
        <pc:chgData name="Veronica Cristea" userId="a459633a-efaa-457d-8035-cc025f252898" providerId="ADAL" clId="{4A1F7530-E3B0-467B-B2B2-C3F4FA67BB1A}" dt="2024-03-14T06:41:17.080" v="4"/>
        <pc:sldMkLst>
          <pc:docMk/>
          <pc:sldMk cId="1884321408" sldId="743"/>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17.080" v="4"/>
              <pc2:cmMkLst xmlns:pc2="http://schemas.microsoft.com/office/powerpoint/2019/9/main/command">
                <pc:docMk/>
                <pc:sldMk cId="1884321408" sldId="743"/>
                <pc2:cmMk id="{9BFC2E80-CF22-4B3F-B58D-1D1DEF17C9E6}"/>
              </pc2:cmMkLst>
            </pc226:cmChg>
          </p:ext>
        </pc:extLst>
      </pc:sldChg>
      <pc:sldChg chg="delCm">
        <pc:chgData name="Veronica Cristea" userId="a459633a-efaa-457d-8035-cc025f252898" providerId="ADAL" clId="{4A1F7530-E3B0-467B-B2B2-C3F4FA67BB1A}" dt="2024-03-14T06:41:23.508" v="5"/>
        <pc:sldMkLst>
          <pc:docMk/>
          <pc:sldMk cId="2210970014" sldId="745"/>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23.508" v="5"/>
              <pc2:cmMkLst xmlns:pc2="http://schemas.microsoft.com/office/powerpoint/2019/9/main/command">
                <pc:docMk/>
                <pc:sldMk cId="2210970014" sldId="745"/>
                <pc2:cmMk id="{8E8B0F97-1CD0-422A-A75C-3CD12EB67AB7}"/>
              </pc2:cmMkLst>
            </pc226:cmChg>
          </p:ext>
        </pc:extLst>
      </pc:sldChg>
      <pc:sldChg chg="delCm">
        <pc:chgData name="Veronica Cristea" userId="a459633a-efaa-457d-8035-cc025f252898" providerId="ADAL" clId="{4A1F7530-E3B0-467B-B2B2-C3F4FA67BB1A}" dt="2024-03-14T06:41:28.325" v="6"/>
        <pc:sldMkLst>
          <pc:docMk/>
          <pc:sldMk cId="163459662" sldId="746"/>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28.325" v="6"/>
              <pc2:cmMkLst xmlns:pc2="http://schemas.microsoft.com/office/powerpoint/2019/9/main/command">
                <pc:docMk/>
                <pc:sldMk cId="163459662" sldId="746"/>
                <pc2:cmMk id="{3404D5CE-7087-4975-B49E-C3274D3D0AF2}"/>
              </pc2:cmMkLst>
            </pc226:cmChg>
          </p:ext>
        </pc:extLst>
      </pc:sldChg>
      <pc:sldChg chg="modSp mod delCm">
        <pc:chgData name="Veronica Cristea" userId="a459633a-efaa-457d-8035-cc025f252898" providerId="ADAL" clId="{4A1F7530-E3B0-467B-B2B2-C3F4FA67BB1A}" dt="2024-03-14T07:18:51.991" v="40" actId="20577"/>
        <pc:sldMkLst>
          <pc:docMk/>
          <pc:sldMk cId="504641534" sldId="747"/>
        </pc:sldMkLst>
        <pc:spChg chg="mod">
          <ac:chgData name="Veronica Cristea" userId="a459633a-efaa-457d-8035-cc025f252898" providerId="ADAL" clId="{4A1F7530-E3B0-467B-B2B2-C3F4FA67BB1A}" dt="2024-03-14T07:18:51.991" v="40" actId="20577"/>
          <ac:spMkLst>
            <pc:docMk/>
            <pc:sldMk cId="504641534" sldId="747"/>
            <ac:spMk id="3" creationId="{9F583E6F-91E4-57D0-03E3-95F198787CE8}"/>
          </ac:spMkLst>
        </pc:spChg>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32.717" v="7"/>
              <pc2:cmMkLst xmlns:pc2="http://schemas.microsoft.com/office/powerpoint/2019/9/main/command">
                <pc:docMk/>
                <pc:sldMk cId="504641534" sldId="747"/>
                <pc2:cmMk id="{C636F592-3A13-4A83-A2C5-5903E3D0AF6C}"/>
              </pc2:cmMkLst>
            </pc226:cmChg>
          </p:ext>
        </pc:extLst>
      </pc:sldChg>
      <pc:sldChg chg="delCm">
        <pc:chgData name="Veronica Cristea" userId="a459633a-efaa-457d-8035-cc025f252898" providerId="ADAL" clId="{4A1F7530-E3B0-467B-B2B2-C3F4FA67BB1A}" dt="2024-03-14T06:41:39.869" v="8"/>
        <pc:sldMkLst>
          <pc:docMk/>
          <pc:sldMk cId="298136405" sldId="749"/>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39.869" v="8"/>
              <pc2:cmMkLst xmlns:pc2="http://schemas.microsoft.com/office/powerpoint/2019/9/main/command">
                <pc:docMk/>
                <pc:sldMk cId="298136405" sldId="749"/>
                <pc2:cmMk id="{E63A697D-27B8-4E08-8004-0327245475C3}"/>
              </pc2:cmMkLst>
            </pc226:cmChg>
          </p:ext>
        </pc:extLst>
      </pc:sldChg>
      <pc:sldChg chg="delCm">
        <pc:chgData name="Veronica Cristea" userId="a459633a-efaa-457d-8035-cc025f252898" providerId="ADAL" clId="{4A1F7530-E3B0-467B-B2B2-C3F4FA67BB1A}" dt="2024-03-14T06:41:46.190" v="9"/>
        <pc:sldMkLst>
          <pc:docMk/>
          <pc:sldMk cId="382621342" sldId="751"/>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46.190" v="9"/>
              <pc2:cmMkLst xmlns:pc2="http://schemas.microsoft.com/office/powerpoint/2019/9/main/command">
                <pc:docMk/>
                <pc:sldMk cId="382621342" sldId="751"/>
                <pc2:cmMk id="{D13FFA02-FC06-4E1C-8FF0-8B7E3EE6FB73}"/>
              </pc2:cmMkLst>
            </pc226:cmChg>
          </p:ext>
        </pc:extLst>
      </pc:sldChg>
      <pc:sldChg chg="delCm">
        <pc:chgData name="Veronica Cristea" userId="a459633a-efaa-457d-8035-cc025f252898" providerId="ADAL" clId="{4A1F7530-E3B0-467B-B2B2-C3F4FA67BB1A}" dt="2024-03-14T06:41:53.018" v="10"/>
        <pc:sldMkLst>
          <pc:docMk/>
          <pc:sldMk cId="4066836038" sldId="752"/>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53.018" v="10"/>
              <pc2:cmMkLst xmlns:pc2="http://schemas.microsoft.com/office/powerpoint/2019/9/main/command">
                <pc:docMk/>
                <pc:sldMk cId="4066836038" sldId="752"/>
                <pc2:cmMk id="{01A7C1A7-4374-44D8-BA5F-CB8ECC569AF0}"/>
              </pc2:cmMkLst>
            </pc226:cmChg>
          </p:ext>
        </pc:extLst>
      </pc:sldChg>
      <pc:sldChg chg="delCm">
        <pc:chgData name="Veronica Cristea" userId="a459633a-efaa-457d-8035-cc025f252898" providerId="ADAL" clId="{4A1F7530-E3B0-467B-B2B2-C3F4FA67BB1A}" dt="2024-03-14T06:41:57.861" v="11"/>
        <pc:sldMkLst>
          <pc:docMk/>
          <pc:sldMk cId="246525964" sldId="754"/>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1:57.861" v="11"/>
              <pc2:cmMkLst xmlns:pc2="http://schemas.microsoft.com/office/powerpoint/2019/9/main/command">
                <pc:docMk/>
                <pc:sldMk cId="246525964" sldId="754"/>
                <pc2:cmMk id="{440411D4-F903-4088-A289-C0D5463F8A62}"/>
              </pc2:cmMkLst>
            </pc226:cmChg>
          </p:ext>
        </pc:extLst>
      </pc:sldChg>
      <pc:sldChg chg="delCm">
        <pc:chgData name="Veronica Cristea" userId="a459633a-efaa-457d-8035-cc025f252898" providerId="ADAL" clId="{4A1F7530-E3B0-467B-B2B2-C3F4FA67BB1A}" dt="2024-03-14T06:42:02.657" v="12"/>
        <pc:sldMkLst>
          <pc:docMk/>
          <pc:sldMk cId="2441131753" sldId="755"/>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2:02.657" v="12"/>
              <pc2:cmMkLst xmlns:pc2="http://schemas.microsoft.com/office/powerpoint/2019/9/main/command">
                <pc:docMk/>
                <pc:sldMk cId="2441131753" sldId="755"/>
                <pc2:cmMk id="{73674159-25E9-481A-90E6-A7150D5E7FC4}"/>
              </pc2:cmMkLst>
            </pc226:cmChg>
          </p:ext>
        </pc:extLst>
      </pc:sldChg>
      <pc:sldChg chg="modSp mod delCm">
        <pc:chgData name="Veronica Cristea" userId="a459633a-efaa-457d-8035-cc025f252898" providerId="ADAL" clId="{4A1F7530-E3B0-467B-B2B2-C3F4FA67BB1A}" dt="2024-03-14T06:57:36.829" v="33" actId="1036"/>
        <pc:sldMkLst>
          <pc:docMk/>
          <pc:sldMk cId="782025200" sldId="757"/>
        </pc:sldMkLst>
        <pc:picChg chg="mod">
          <ac:chgData name="Veronica Cristea" userId="a459633a-efaa-457d-8035-cc025f252898" providerId="ADAL" clId="{4A1F7530-E3B0-467B-B2B2-C3F4FA67BB1A}" dt="2024-03-14T06:57:36.829" v="33" actId="1036"/>
          <ac:picMkLst>
            <pc:docMk/>
            <pc:sldMk cId="782025200" sldId="757"/>
            <ac:picMk id="9" creationId="{4F825646-66A4-92FE-39ED-71DFB5440850}"/>
          </ac:picMkLst>
        </pc:picChg>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2:09.126" v="13"/>
              <pc2:cmMkLst xmlns:pc2="http://schemas.microsoft.com/office/powerpoint/2019/9/main/command">
                <pc:docMk/>
                <pc:sldMk cId="782025200" sldId="757"/>
                <pc2:cmMk id="{EF51E0FB-0823-452D-B886-DD9982E429E6}"/>
              </pc2:cmMkLst>
            </pc226:cmChg>
          </p:ext>
        </pc:extLst>
      </pc:sldChg>
      <pc:sldChg chg="delCm">
        <pc:chgData name="Veronica Cristea" userId="a459633a-efaa-457d-8035-cc025f252898" providerId="ADAL" clId="{4A1F7530-E3B0-467B-B2B2-C3F4FA67BB1A}" dt="2024-03-14T06:42:18.444" v="14"/>
        <pc:sldMkLst>
          <pc:docMk/>
          <pc:sldMk cId="1860053812" sldId="759"/>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2:18.444" v="14"/>
              <pc2:cmMkLst xmlns:pc2="http://schemas.microsoft.com/office/powerpoint/2019/9/main/command">
                <pc:docMk/>
                <pc:sldMk cId="1860053812" sldId="759"/>
                <pc2:cmMk id="{3419A652-64CF-4E54-B4EB-B655BBA44CB5}"/>
              </pc2:cmMkLst>
            </pc226:cmChg>
          </p:ext>
        </pc:extLst>
      </pc:sldChg>
      <pc:sldChg chg="modSp mod delCm">
        <pc:chgData name="Veronica Cristea" userId="a459633a-efaa-457d-8035-cc025f252898" providerId="ADAL" clId="{4A1F7530-E3B0-467B-B2B2-C3F4FA67BB1A}" dt="2024-03-14T07:24:35.114" v="80" actId="20577"/>
        <pc:sldMkLst>
          <pc:docMk/>
          <pc:sldMk cId="3868409487" sldId="760"/>
        </pc:sldMkLst>
        <pc:spChg chg="mod">
          <ac:chgData name="Veronica Cristea" userId="a459633a-efaa-457d-8035-cc025f252898" providerId="ADAL" clId="{4A1F7530-E3B0-467B-B2B2-C3F4FA67BB1A}" dt="2024-03-14T07:24:35.114" v="80" actId="20577"/>
          <ac:spMkLst>
            <pc:docMk/>
            <pc:sldMk cId="3868409487" sldId="760"/>
            <ac:spMk id="5" creationId="{3AD64277-4BE2-7D68-3A9B-81E25D64936A}"/>
          </ac:spMkLst>
        </pc:spChg>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2:24.282" v="17"/>
              <pc2:cmMkLst xmlns:pc2="http://schemas.microsoft.com/office/powerpoint/2019/9/main/command">
                <pc:docMk/>
                <pc:sldMk cId="3868409487" sldId="760"/>
                <pc2:cmMk id="{B179675D-1D7D-451D-BF0C-E4C1D2710919}"/>
              </pc2:cmMkLst>
            </pc226:cmChg>
            <pc226:cmChg xmlns:pc226="http://schemas.microsoft.com/office/powerpoint/2022/06/main/command" chg="del">
              <pc226:chgData name="Veronica Cristea" userId="a459633a-efaa-457d-8035-cc025f252898" providerId="ADAL" clId="{4A1F7530-E3B0-467B-B2B2-C3F4FA67BB1A}" dt="2024-03-14T06:42:23.281" v="16"/>
              <pc2:cmMkLst xmlns:pc2="http://schemas.microsoft.com/office/powerpoint/2019/9/main/command">
                <pc:docMk/>
                <pc:sldMk cId="3868409487" sldId="760"/>
                <pc2:cmMk id="{63E0C15E-0FC1-43A5-897C-D33E8E7BB5A0}"/>
              </pc2:cmMkLst>
            </pc226:cmChg>
            <pc226:cmChg xmlns:pc226="http://schemas.microsoft.com/office/powerpoint/2022/06/main/command" chg="del">
              <pc226:chgData name="Veronica Cristea" userId="a459633a-efaa-457d-8035-cc025f252898" providerId="ADAL" clId="{4A1F7530-E3B0-467B-B2B2-C3F4FA67BB1A}" dt="2024-03-14T06:42:22.474" v="15"/>
              <pc2:cmMkLst xmlns:pc2="http://schemas.microsoft.com/office/powerpoint/2019/9/main/command">
                <pc:docMk/>
                <pc:sldMk cId="3868409487" sldId="760"/>
                <pc2:cmMk id="{3CBE74AE-96EB-4305-901C-170AF8C30E7B}"/>
              </pc2:cmMkLst>
            </pc226:cmChg>
          </p:ext>
        </pc:extLst>
      </pc:sldChg>
      <pc:sldChg chg="modSp mod delCm">
        <pc:chgData name="Veronica Cristea" userId="a459633a-efaa-457d-8035-cc025f252898" providerId="ADAL" clId="{4A1F7530-E3B0-467B-B2B2-C3F4FA67BB1A}" dt="2024-03-14T07:24:57.871" v="94" actId="20577"/>
        <pc:sldMkLst>
          <pc:docMk/>
          <pc:sldMk cId="82545458" sldId="761"/>
        </pc:sldMkLst>
        <pc:spChg chg="mod">
          <ac:chgData name="Veronica Cristea" userId="a459633a-efaa-457d-8035-cc025f252898" providerId="ADAL" clId="{4A1F7530-E3B0-467B-B2B2-C3F4FA67BB1A}" dt="2024-03-14T07:24:57.871" v="94" actId="20577"/>
          <ac:spMkLst>
            <pc:docMk/>
            <pc:sldMk cId="82545458" sldId="761"/>
            <ac:spMk id="5" creationId="{5D439943-7CCE-B613-46D3-B95B5B512F03}"/>
          </ac:spMkLst>
        </pc:spChg>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2:29.907" v="19"/>
              <pc2:cmMkLst xmlns:pc2="http://schemas.microsoft.com/office/powerpoint/2019/9/main/command">
                <pc:docMk/>
                <pc:sldMk cId="82545458" sldId="761"/>
                <pc2:cmMk id="{B2637801-0484-40D8-B0FD-05B9FEA3ABB6}"/>
              </pc2:cmMkLst>
            </pc226:cmChg>
            <pc226:cmChg xmlns:pc226="http://schemas.microsoft.com/office/powerpoint/2022/06/main/command" chg="del">
              <pc226:chgData name="Veronica Cristea" userId="a459633a-efaa-457d-8035-cc025f252898" providerId="ADAL" clId="{4A1F7530-E3B0-467B-B2B2-C3F4FA67BB1A}" dt="2024-03-14T06:42:29.076" v="18"/>
              <pc2:cmMkLst xmlns:pc2="http://schemas.microsoft.com/office/powerpoint/2019/9/main/command">
                <pc:docMk/>
                <pc:sldMk cId="82545458" sldId="761"/>
                <pc2:cmMk id="{6CCA4D95-DB42-4E64-B9EB-DEB81B998548}"/>
              </pc2:cmMkLst>
            </pc226:cmChg>
            <pc226:cmChg xmlns:pc226="http://schemas.microsoft.com/office/powerpoint/2022/06/main/command" chg="del">
              <pc226:chgData name="Veronica Cristea" userId="a459633a-efaa-457d-8035-cc025f252898" providerId="ADAL" clId="{4A1F7530-E3B0-467B-B2B2-C3F4FA67BB1A}" dt="2024-03-14T06:42:30.620" v="20"/>
              <pc2:cmMkLst xmlns:pc2="http://schemas.microsoft.com/office/powerpoint/2019/9/main/command">
                <pc:docMk/>
                <pc:sldMk cId="82545458" sldId="761"/>
                <pc2:cmMk id="{6FC193C1-ADC7-4998-83CD-0F3E267F2958}"/>
              </pc2:cmMkLst>
            </pc226:cmChg>
          </p:ext>
        </pc:extLst>
      </pc:sldChg>
      <pc:sldChg chg="delCm">
        <pc:chgData name="Veronica Cristea" userId="a459633a-efaa-457d-8035-cc025f252898" providerId="ADAL" clId="{4A1F7530-E3B0-467B-B2B2-C3F4FA67BB1A}" dt="2024-03-14T06:42:37.660" v="21"/>
        <pc:sldMkLst>
          <pc:docMk/>
          <pc:sldMk cId="507428650" sldId="763"/>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2:37.660" v="21"/>
              <pc2:cmMkLst xmlns:pc2="http://schemas.microsoft.com/office/powerpoint/2019/9/main/command">
                <pc:docMk/>
                <pc:sldMk cId="507428650" sldId="763"/>
                <pc2:cmMk id="{00C57922-791E-4B40-BFB5-2DFA29757F2E}"/>
              </pc2:cmMkLst>
            </pc226:cmChg>
          </p:ext>
        </pc:extLst>
      </pc:sldChg>
      <pc:sldChg chg="delCm">
        <pc:chgData name="Veronica Cristea" userId="a459633a-efaa-457d-8035-cc025f252898" providerId="ADAL" clId="{4A1F7530-E3B0-467B-B2B2-C3F4FA67BB1A}" dt="2024-03-14T06:42:43.711" v="24"/>
        <pc:sldMkLst>
          <pc:docMk/>
          <pc:sldMk cId="135761927" sldId="764"/>
        </pc:sldMkLst>
        <pc:extLst>
          <p:ext xmlns:p="http://schemas.openxmlformats.org/presentationml/2006/main" uri="{D6D511B9-2390-475A-947B-AFAB55BFBCF1}">
            <pc226:cmChg xmlns:pc226="http://schemas.microsoft.com/office/powerpoint/2022/06/main/command" chg="del">
              <pc226:chgData name="Veronica Cristea" userId="a459633a-efaa-457d-8035-cc025f252898" providerId="ADAL" clId="{4A1F7530-E3B0-467B-B2B2-C3F4FA67BB1A}" dt="2024-03-14T06:42:43.063" v="23"/>
              <pc2:cmMkLst xmlns:pc2="http://schemas.microsoft.com/office/powerpoint/2019/9/main/command">
                <pc:docMk/>
                <pc:sldMk cId="135761927" sldId="764"/>
                <pc2:cmMk id="{9AD16C09-BB45-44FE-8D2B-0222536EBAB1}"/>
              </pc2:cmMkLst>
            </pc226:cmChg>
            <pc226:cmChg xmlns:pc226="http://schemas.microsoft.com/office/powerpoint/2022/06/main/command" chg="del">
              <pc226:chgData name="Veronica Cristea" userId="a459633a-efaa-457d-8035-cc025f252898" providerId="ADAL" clId="{4A1F7530-E3B0-467B-B2B2-C3F4FA67BB1A}" dt="2024-03-14T06:42:43.711" v="24"/>
              <pc2:cmMkLst xmlns:pc2="http://schemas.microsoft.com/office/powerpoint/2019/9/main/command">
                <pc:docMk/>
                <pc:sldMk cId="135761927" sldId="764"/>
                <pc2:cmMk id="{32C21F53-7925-47FB-BEFD-0C07DAC3BEE4}"/>
              </pc2:cmMkLst>
            </pc226:cmChg>
            <pc226:cmChg xmlns:pc226="http://schemas.microsoft.com/office/powerpoint/2022/06/main/command" chg="del">
              <pc226:chgData name="Veronica Cristea" userId="a459633a-efaa-457d-8035-cc025f252898" providerId="ADAL" clId="{4A1F7530-E3B0-467B-B2B2-C3F4FA67BB1A}" dt="2024-03-14T06:42:42.434" v="22"/>
              <pc2:cmMkLst xmlns:pc2="http://schemas.microsoft.com/office/powerpoint/2019/9/main/command">
                <pc:docMk/>
                <pc:sldMk cId="135761927" sldId="764"/>
                <pc2:cmMk id="{8A4C6AEB-E865-4727-88D2-86FAAA9DBC3D}"/>
              </pc2:cmMkLst>
            </pc226:cmChg>
          </p:ext>
        </pc:extLst>
      </pc:sldChg>
      <pc:sldChg chg="modSp mod">
        <pc:chgData name="Veronica Cristea" userId="a459633a-efaa-457d-8035-cc025f252898" providerId="ADAL" clId="{4A1F7530-E3B0-467B-B2B2-C3F4FA67BB1A}" dt="2024-03-14T06:58:52.375" v="36" actId="20577"/>
        <pc:sldMkLst>
          <pc:docMk/>
          <pc:sldMk cId="51248086" sldId="765"/>
        </pc:sldMkLst>
        <pc:graphicFrameChg chg="modGraphic">
          <ac:chgData name="Veronica Cristea" userId="a459633a-efaa-457d-8035-cc025f252898" providerId="ADAL" clId="{4A1F7530-E3B0-467B-B2B2-C3F4FA67BB1A}" dt="2024-03-14T06:58:52.375" v="36" actId="20577"/>
          <ac:graphicFrameMkLst>
            <pc:docMk/>
            <pc:sldMk cId="51248086" sldId="765"/>
            <ac:graphicFrameMk id="3" creationId="{65D3FA8E-0938-AF47-28F0-E5B5E5D6392B}"/>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343100-E377-4B59-8241-905B986AADF8}" type="datetimeFigureOut">
              <a:rPr lang="en-US" smtClean="0"/>
              <a:t>3/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E7C65C-7466-4665-825E-8440C81153CF}" type="slidenum">
              <a:rPr lang="en-US" smtClean="0"/>
              <a:t>‹#›</a:t>
            </a:fld>
            <a:endParaRPr lang="en-US"/>
          </a:p>
        </p:txBody>
      </p:sp>
    </p:spTree>
    <p:extLst>
      <p:ext uri="{BB962C8B-B14F-4D97-AF65-F5344CB8AC3E}">
        <p14:creationId xmlns:p14="http://schemas.microsoft.com/office/powerpoint/2010/main" val="4207583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1</a:t>
            </a:fld>
            <a:endParaRPr lang="en-US"/>
          </a:p>
        </p:txBody>
      </p:sp>
    </p:spTree>
    <p:extLst>
      <p:ext uri="{BB962C8B-B14F-4D97-AF65-F5344CB8AC3E}">
        <p14:creationId xmlns:p14="http://schemas.microsoft.com/office/powerpoint/2010/main" val="431535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2</a:t>
            </a:fld>
            <a:endParaRPr lang="en-US"/>
          </a:p>
        </p:txBody>
      </p:sp>
    </p:spTree>
    <p:extLst>
      <p:ext uri="{BB962C8B-B14F-4D97-AF65-F5344CB8AC3E}">
        <p14:creationId xmlns:p14="http://schemas.microsoft.com/office/powerpoint/2010/main" val="3036353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6</a:t>
            </a:fld>
            <a:endParaRPr lang="en-US"/>
          </a:p>
        </p:txBody>
      </p:sp>
    </p:spTree>
    <p:extLst>
      <p:ext uri="{BB962C8B-B14F-4D97-AF65-F5344CB8AC3E}">
        <p14:creationId xmlns:p14="http://schemas.microsoft.com/office/powerpoint/2010/main" val="409921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10</a:t>
            </a:fld>
            <a:endParaRPr lang="en-US"/>
          </a:p>
        </p:txBody>
      </p:sp>
    </p:spTree>
    <p:extLst>
      <p:ext uri="{BB962C8B-B14F-4D97-AF65-F5344CB8AC3E}">
        <p14:creationId xmlns:p14="http://schemas.microsoft.com/office/powerpoint/2010/main" val="2276528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1E7C65C-7466-4665-825E-8440C81153CF}" type="slidenum">
              <a:rPr lang="en-US" smtClean="0"/>
              <a:t>21</a:t>
            </a:fld>
            <a:endParaRPr lang="en-US"/>
          </a:p>
        </p:txBody>
      </p:sp>
    </p:spTree>
    <p:extLst>
      <p:ext uri="{BB962C8B-B14F-4D97-AF65-F5344CB8AC3E}">
        <p14:creationId xmlns:p14="http://schemas.microsoft.com/office/powerpoint/2010/main" val="4274016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cid:image001.png@01D86F70.71A8D560" TargetMode="Externa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29.png"/><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5.emf"/><Relationship Id="rId5" Type="http://schemas.openxmlformats.org/officeDocument/2006/relationships/oleObject" Target="../embeddings/oleObject87.bin"/><Relationship Id="rId4"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29.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5.emf"/><Relationship Id="rId5" Type="http://schemas.openxmlformats.org/officeDocument/2006/relationships/oleObject" Target="../embeddings/oleObject88.bin"/><Relationship Id="rId4"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18.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5.emf"/><Relationship Id="rId5" Type="http://schemas.openxmlformats.org/officeDocument/2006/relationships/oleObject" Target="../embeddings/oleObject89.bin"/><Relationship Id="rId4"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30.pn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5.emf"/><Relationship Id="rId5" Type="http://schemas.openxmlformats.org/officeDocument/2006/relationships/oleObject" Target="../embeddings/oleObject90.bin"/><Relationship Id="rId4"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21.pn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20.emf"/><Relationship Id="rId5" Type="http://schemas.openxmlformats.org/officeDocument/2006/relationships/oleObject" Target="../embeddings/oleObject91.bin"/><Relationship Id="rId4"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31.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5.emf"/><Relationship Id="rId5" Type="http://schemas.openxmlformats.org/officeDocument/2006/relationships/oleObject" Target="../embeddings/oleObject92.bin"/><Relationship Id="rId4"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image" Target="../media/image18.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5.emf"/><Relationship Id="rId5" Type="http://schemas.openxmlformats.org/officeDocument/2006/relationships/oleObject" Target="../embeddings/oleObject93.bin"/><Relationship Id="rId4"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32.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15.emf"/><Relationship Id="rId5" Type="http://schemas.openxmlformats.org/officeDocument/2006/relationships/oleObject" Target="../embeddings/oleObject94.bin"/><Relationship Id="rId4"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18.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5.emf"/><Relationship Id="rId5" Type="http://schemas.openxmlformats.org/officeDocument/2006/relationships/oleObject" Target="../embeddings/oleObject95.bin"/><Relationship Id="rId4"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32.png"/><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image" Target="../media/image15.emf"/><Relationship Id="rId5" Type="http://schemas.openxmlformats.org/officeDocument/2006/relationships/oleObject" Target="../embeddings/oleObject96.bin"/><Relationship Id="rId4"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6.emf"/></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15.emf"/><Relationship Id="rId5" Type="http://schemas.openxmlformats.org/officeDocument/2006/relationships/oleObject" Target="../embeddings/oleObject97.bin"/><Relationship Id="rId4"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5.emf"/><Relationship Id="rId5" Type="http://schemas.openxmlformats.org/officeDocument/2006/relationships/oleObject" Target="../embeddings/oleObject98.bin"/><Relationship Id="rId4"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5.xml"/><Relationship Id="rId1" Type="http://schemas.openxmlformats.org/officeDocument/2006/relationships/tags" Target="../tags/tag238.xml"/><Relationship Id="rId5" Type="http://schemas.openxmlformats.org/officeDocument/2006/relationships/image" Target="../media/image29.png"/><Relationship Id="rId4" Type="http://schemas.openxmlformats.org/officeDocument/2006/relationships/image" Target="../media/image20.emf"/></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15.emf"/><Relationship Id="rId5" Type="http://schemas.openxmlformats.org/officeDocument/2006/relationships/oleObject" Target="../embeddings/oleObject100.bin"/><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5.emf"/><Relationship Id="rId4" Type="http://schemas.openxmlformats.org/officeDocument/2006/relationships/oleObject" Target="../embeddings/oleObject10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5.xml"/><Relationship Id="rId1" Type="http://schemas.openxmlformats.org/officeDocument/2006/relationships/tags" Target="../tags/tag244.xml"/><Relationship Id="rId5" Type="http://schemas.openxmlformats.org/officeDocument/2006/relationships/image" Target="../media/image15.emf"/><Relationship Id="rId4" Type="http://schemas.openxmlformats.org/officeDocument/2006/relationships/oleObject" Target="../embeddings/oleObject10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5.emf"/><Relationship Id="rId4" Type="http://schemas.openxmlformats.org/officeDocument/2006/relationships/oleObject" Target="../embeddings/oleObject103.bin"/></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10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15.emf"/><Relationship Id="rId4" Type="http://schemas.openxmlformats.org/officeDocument/2006/relationships/oleObject" Target="../embeddings/oleObject105.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106.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6.emf"/></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56.xml"/><Relationship Id="rId7" Type="http://schemas.openxmlformats.org/officeDocument/2006/relationships/image" Target="../media/image7.wmf"/><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15.emf"/><Relationship Id="rId5" Type="http://schemas.openxmlformats.org/officeDocument/2006/relationships/oleObject" Target="../embeddings/oleObject107.bin"/><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15.emf"/><Relationship Id="rId5" Type="http://schemas.openxmlformats.org/officeDocument/2006/relationships/oleObject" Target="../embeddings/oleObject108.bin"/><Relationship Id="rId4"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15.emf"/><Relationship Id="rId5" Type="http://schemas.openxmlformats.org/officeDocument/2006/relationships/oleObject" Target="../embeddings/oleObject109.bin"/><Relationship Id="rId4"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15.emf"/><Relationship Id="rId4" Type="http://schemas.openxmlformats.org/officeDocument/2006/relationships/oleObject" Target="../embeddings/oleObject110.bin"/></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67.xml"/><Relationship Id="rId7" Type="http://schemas.openxmlformats.org/officeDocument/2006/relationships/image" Target="../media/image29.png"/><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15.emf"/><Relationship Id="rId5" Type="http://schemas.openxmlformats.org/officeDocument/2006/relationships/oleObject" Target="../embeddings/oleObject111.bin"/><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29.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15.emf"/><Relationship Id="rId5" Type="http://schemas.openxmlformats.org/officeDocument/2006/relationships/oleObject" Target="../embeddings/oleObject112.bin"/><Relationship Id="rId4"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29.png"/><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15.emf"/><Relationship Id="rId5" Type="http://schemas.openxmlformats.org/officeDocument/2006/relationships/oleObject" Target="../embeddings/oleObject113.bin"/><Relationship Id="rId4"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image" Target="../media/image29.png"/><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15.emf"/><Relationship Id="rId5" Type="http://schemas.openxmlformats.org/officeDocument/2006/relationships/oleObject" Target="../embeddings/oleObject114.bin"/><Relationship Id="rId4"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79.xml"/><Relationship Id="rId7" Type="http://schemas.openxmlformats.org/officeDocument/2006/relationships/image" Target="../media/image29.png"/><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15.emf"/><Relationship Id="rId5" Type="http://schemas.openxmlformats.org/officeDocument/2006/relationships/oleObject" Target="../embeddings/oleObject115.bin"/><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82.xml"/><Relationship Id="rId7" Type="http://schemas.openxmlformats.org/officeDocument/2006/relationships/image" Target="../media/image29.png"/><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15.emf"/><Relationship Id="rId5" Type="http://schemas.openxmlformats.org/officeDocument/2006/relationships/oleObject" Target="../embeddings/oleObject116.bin"/><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85.xml"/><Relationship Id="rId7" Type="http://schemas.openxmlformats.org/officeDocument/2006/relationships/image" Target="../media/image18.png"/><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20.emf"/><Relationship Id="rId5" Type="http://schemas.openxmlformats.org/officeDocument/2006/relationships/oleObject" Target="../embeddings/oleObject117.bin"/><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30.png"/><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15.emf"/><Relationship Id="rId5" Type="http://schemas.openxmlformats.org/officeDocument/2006/relationships/oleObject" Target="../embeddings/oleObject118.bin"/><Relationship Id="rId4"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91.xml"/><Relationship Id="rId7" Type="http://schemas.openxmlformats.org/officeDocument/2006/relationships/image" Target="../media/image21.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15.emf"/><Relationship Id="rId5" Type="http://schemas.openxmlformats.org/officeDocument/2006/relationships/oleObject" Target="../embeddings/oleObject119.bin"/><Relationship Id="rId4"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94.xml"/><Relationship Id="rId7" Type="http://schemas.openxmlformats.org/officeDocument/2006/relationships/image" Target="../media/image31.png"/><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5.emf"/><Relationship Id="rId5" Type="http://schemas.openxmlformats.org/officeDocument/2006/relationships/oleObject" Target="../embeddings/oleObject120.bin"/><Relationship Id="rId4"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97.xml"/><Relationship Id="rId7" Type="http://schemas.openxmlformats.org/officeDocument/2006/relationships/image" Target="../media/image18.png"/><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image" Target="../media/image15.emf"/><Relationship Id="rId5" Type="http://schemas.openxmlformats.org/officeDocument/2006/relationships/oleObject" Target="../embeddings/oleObject121.bin"/><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image" Target="../media/image32.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15.emf"/><Relationship Id="rId5" Type="http://schemas.openxmlformats.org/officeDocument/2006/relationships/oleObject" Target="../embeddings/oleObject122.bin"/><Relationship Id="rId4"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18.png"/><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15.emf"/><Relationship Id="rId5" Type="http://schemas.openxmlformats.org/officeDocument/2006/relationships/oleObject" Target="../embeddings/oleObject123.bin"/><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306.xml"/><Relationship Id="rId7" Type="http://schemas.openxmlformats.org/officeDocument/2006/relationships/image" Target="../media/image32.png"/><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15.emf"/><Relationship Id="rId5" Type="http://schemas.openxmlformats.org/officeDocument/2006/relationships/oleObject" Target="../embeddings/oleObject124.bin"/><Relationship Id="rId4"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image" Target="../media/image15.emf"/><Relationship Id="rId5" Type="http://schemas.openxmlformats.org/officeDocument/2006/relationships/oleObject" Target="../embeddings/oleObject125.bin"/><Relationship Id="rId4"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312.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15.emf"/><Relationship Id="rId5" Type="http://schemas.openxmlformats.org/officeDocument/2006/relationships/oleObject" Target="../embeddings/oleObject126.bin"/><Relationship Id="rId4"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9.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313.xml"/><Relationship Id="rId4" Type="http://schemas.openxmlformats.org/officeDocument/2006/relationships/image" Target="../media/image25.emf"/></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316.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15.emf"/><Relationship Id="rId5" Type="http://schemas.openxmlformats.org/officeDocument/2006/relationships/oleObject" Target="../embeddings/oleObject128.bin"/><Relationship Id="rId4"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2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0.xml"/><Relationship Id="rId1" Type="http://schemas.openxmlformats.org/officeDocument/2006/relationships/tags" Target="../tags/tag319.xml"/><Relationship Id="rId5" Type="http://schemas.openxmlformats.org/officeDocument/2006/relationships/image" Target="../media/image15.emf"/><Relationship Id="rId4" Type="http://schemas.openxmlformats.org/officeDocument/2006/relationships/oleObject" Target="../embeddings/oleObject13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2.xml"/><Relationship Id="rId1" Type="http://schemas.openxmlformats.org/officeDocument/2006/relationships/tags" Target="../tags/tag321.xml"/><Relationship Id="rId5" Type="http://schemas.openxmlformats.org/officeDocument/2006/relationships/image" Target="../media/image15.emf"/><Relationship Id="rId4" Type="http://schemas.openxmlformats.org/officeDocument/2006/relationships/oleObject" Target="../embeddings/oleObject13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4.xml"/><Relationship Id="rId1" Type="http://schemas.openxmlformats.org/officeDocument/2006/relationships/tags" Target="../tags/tag323.xml"/><Relationship Id="rId5" Type="http://schemas.openxmlformats.org/officeDocument/2006/relationships/image" Target="../media/image15.emf"/><Relationship Id="rId4" Type="http://schemas.openxmlformats.org/officeDocument/2006/relationships/oleObject" Target="../embeddings/oleObject132.bin"/></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13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8.xml"/><Relationship Id="rId1" Type="http://schemas.openxmlformats.org/officeDocument/2006/relationships/tags" Target="../tags/tag327.xml"/><Relationship Id="rId5" Type="http://schemas.openxmlformats.org/officeDocument/2006/relationships/image" Target="../media/image15.emf"/><Relationship Id="rId4" Type="http://schemas.openxmlformats.org/officeDocument/2006/relationships/oleObject" Target="../embeddings/oleObject134.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0.xml"/><Relationship Id="rId1" Type="http://schemas.openxmlformats.org/officeDocument/2006/relationships/tags" Target="../tags/tag329.xml"/><Relationship Id="rId5" Type="http://schemas.openxmlformats.org/officeDocument/2006/relationships/image" Target="../media/image15.emf"/><Relationship Id="rId4" Type="http://schemas.openxmlformats.org/officeDocument/2006/relationships/oleObject" Target="../embeddings/oleObject135.bin"/></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331.xml"/><Relationship Id="rId4" Type="http://schemas.openxmlformats.org/officeDocument/2006/relationships/image" Target="../media/image15.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image" Target="../media/image15.emf"/><Relationship Id="rId4" Type="http://schemas.openxmlformats.org/officeDocument/2006/relationships/oleObject" Target="../embeddings/oleObject13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13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7.xml"/><Relationship Id="rId1" Type="http://schemas.openxmlformats.org/officeDocument/2006/relationships/tags" Target="../tags/tag336.xml"/><Relationship Id="rId5" Type="http://schemas.openxmlformats.org/officeDocument/2006/relationships/image" Target="../media/image15.emf"/><Relationship Id="rId4" Type="http://schemas.openxmlformats.org/officeDocument/2006/relationships/oleObject" Target="../embeddings/oleObject139.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5.xml"/><Relationship Id="rId1" Type="http://schemas.openxmlformats.org/officeDocument/2006/relationships/tags" Target="../tags/tag338.xml"/><Relationship Id="rId4" Type="http://schemas.openxmlformats.org/officeDocument/2006/relationships/image" Target="../media/image15.emf"/></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image" Target="../media/image15.emf"/><Relationship Id="rId4" Type="http://schemas.openxmlformats.org/officeDocument/2006/relationships/oleObject" Target="../embeddings/oleObject14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142.bin"/></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5.xml"/><Relationship Id="rId1" Type="http://schemas.openxmlformats.org/officeDocument/2006/relationships/tags" Target="../tags/tag343.xml"/><Relationship Id="rId5" Type="http://schemas.openxmlformats.org/officeDocument/2006/relationships/image" Target="../media/image18.png"/><Relationship Id="rId4" Type="http://schemas.openxmlformats.org/officeDocument/2006/relationships/image" Target="../media/image15.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344.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5.xml"/><Relationship Id="rId1" Type="http://schemas.openxmlformats.org/officeDocument/2006/relationships/tags" Target="../tags/tag345.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5.xml"/><Relationship Id="rId1" Type="http://schemas.openxmlformats.org/officeDocument/2006/relationships/tags" Target="../tags/tag346.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5.xml"/><Relationship Id="rId1" Type="http://schemas.openxmlformats.org/officeDocument/2006/relationships/tags" Target="../tags/tag347.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48.bin"/></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7.wmf"/><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15.emf"/><Relationship Id="rId5" Type="http://schemas.openxmlformats.org/officeDocument/2006/relationships/oleObject" Target="../embeddings/oleObject149.bin"/><Relationship Id="rId4"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357.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15.emf"/><Relationship Id="rId5" Type="http://schemas.openxmlformats.org/officeDocument/2006/relationships/oleObject" Target="../embeddings/oleObject150.bin"/><Relationship Id="rId4"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15.emf"/><Relationship Id="rId5" Type="http://schemas.openxmlformats.org/officeDocument/2006/relationships/oleObject" Target="../embeddings/oleObject151.bin"/><Relationship Id="rId4"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2.xml"/><Relationship Id="rId1" Type="http://schemas.openxmlformats.org/officeDocument/2006/relationships/tags" Target="../tags/tag361.xml"/><Relationship Id="rId5" Type="http://schemas.openxmlformats.org/officeDocument/2006/relationships/image" Target="../media/image15.emf"/><Relationship Id="rId4" Type="http://schemas.openxmlformats.org/officeDocument/2006/relationships/oleObject" Target="../embeddings/oleObject15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365.xml"/><Relationship Id="rId7" Type="http://schemas.openxmlformats.org/officeDocument/2006/relationships/image" Target="../media/image17.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15.emf"/><Relationship Id="rId5" Type="http://schemas.openxmlformats.org/officeDocument/2006/relationships/oleObject" Target="../embeddings/oleObject153.bin"/><Relationship Id="rId4"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17.pn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15.emf"/><Relationship Id="rId5" Type="http://schemas.openxmlformats.org/officeDocument/2006/relationships/oleObject" Target="../embeddings/oleObject154.bin"/><Relationship Id="rId4"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371.xml"/><Relationship Id="rId7" Type="http://schemas.openxmlformats.org/officeDocument/2006/relationships/image" Target="../media/image17.png"/><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15.emf"/><Relationship Id="rId5" Type="http://schemas.openxmlformats.org/officeDocument/2006/relationships/oleObject" Target="../embeddings/oleObject155.bin"/><Relationship Id="rId4"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image" Target="../media/image17.png"/><Relationship Id="rId2" Type="http://schemas.openxmlformats.org/officeDocument/2006/relationships/tags" Target="../tags/tag373.xml"/><Relationship Id="rId1" Type="http://schemas.openxmlformats.org/officeDocument/2006/relationships/tags" Target="../tags/tag372.xml"/><Relationship Id="rId6" Type="http://schemas.openxmlformats.org/officeDocument/2006/relationships/image" Target="../media/image15.emf"/><Relationship Id="rId5" Type="http://schemas.openxmlformats.org/officeDocument/2006/relationships/oleObject" Target="../embeddings/oleObject156.bin"/><Relationship Id="rId4"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77.xml"/><Relationship Id="rId7" Type="http://schemas.openxmlformats.org/officeDocument/2006/relationships/image" Target="../media/image17.png"/><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image" Target="../media/image15.emf"/><Relationship Id="rId5" Type="http://schemas.openxmlformats.org/officeDocument/2006/relationships/oleObject" Target="../embeddings/oleObject157.bin"/><Relationship Id="rId4"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image" Target="../media/image18.png"/><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15.emf"/><Relationship Id="rId5" Type="http://schemas.openxmlformats.org/officeDocument/2006/relationships/oleObject" Target="../embeddings/oleObject158.bin"/><Relationship Id="rId4"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83.xml"/><Relationship Id="rId7" Type="http://schemas.openxmlformats.org/officeDocument/2006/relationships/image" Target="../media/image19.png"/><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image" Target="../media/image15.emf"/><Relationship Id="rId5" Type="http://schemas.openxmlformats.org/officeDocument/2006/relationships/oleObject" Target="../embeddings/oleObject159.bin"/><Relationship Id="rId4"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86.xml"/><Relationship Id="rId7" Type="http://schemas.openxmlformats.org/officeDocument/2006/relationships/image" Target="../media/image21.png"/><Relationship Id="rId2" Type="http://schemas.openxmlformats.org/officeDocument/2006/relationships/tags" Target="../tags/tag385.xml"/><Relationship Id="rId1" Type="http://schemas.openxmlformats.org/officeDocument/2006/relationships/tags" Target="../tags/tag384.xml"/><Relationship Id="rId6" Type="http://schemas.openxmlformats.org/officeDocument/2006/relationships/image" Target="../media/image20.emf"/><Relationship Id="rId5" Type="http://schemas.openxmlformats.org/officeDocument/2006/relationships/oleObject" Target="../embeddings/oleObject160.bin"/><Relationship Id="rId4"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image" Target="../media/image22.png"/><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image" Target="../media/image15.emf"/><Relationship Id="rId5" Type="http://schemas.openxmlformats.org/officeDocument/2006/relationships/oleObject" Target="../embeddings/oleObject161.bin"/><Relationship Id="rId4"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92.xml"/><Relationship Id="rId7" Type="http://schemas.openxmlformats.org/officeDocument/2006/relationships/image" Target="../media/image18.png"/><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image" Target="../media/image15.emf"/><Relationship Id="rId5" Type="http://schemas.openxmlformats.org/officeDocument/2006/relationships/oleObject" Target="../embeddings/oleObject162.bin"/><Relationship Id="rId4"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6.emf"/></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95.xml"/><Relationship Id="rId7" Type="http://schemas.openxmlformats.org/officeDocument/2006/relationships/image" Target="../media/image23.png"/><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image" Target="../media/image15.emf"/><Relationship Id="rId5" Type="http://schemas.openxmlformats.org/officeDocument/2006/relationships/oleObject" Target="../embeddings/oleObject163.bin"/><Relationship Id="rId4"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18.png"/><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image" Target="../media/image15.emf"/><Relationship Id="rId5" Type="http://schemas.openxmlformats.org/officeDocument/2006/relationships/oleObject" Target="../embeddings/oleObject164.bin"/><Relationship Id="rId4"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401.xml"/><Relationship Id="rId7" Type="http://schemas.openxmlformats.org/officeDocument/2006/relationships/image" Target="../media/image23.png"/><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image" Target="../media/image15.emf"/><Relationship Id="rId5" Type="http://schemas.openxmlformats.org/officeDocument/2006/relationships/oleObject" Target="../embeddings/oleObject165.bin"/><Relationship Id="rId4"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image" Target="../media/image15.emf"/><Relationship Id="rId5" Type="http://schemas.openxmlformats.org/officeDocument/2006/relationships/oleObject" Target="../embeddings/oleObject166.bin"/><Relationship Id="rId4"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407.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15.emf"/><Relationship Id="rId5" Type="http://schemas.openxmlformats.org/officeDocument/2006/relationships/oleObject" Target="../embeddings/oleObject167.bin"/><Relationship Id="rId4"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408.xml"/><Relationship Id="rId5" Type="http://schemas.openxmlformats.org/officeDocument/2006/relationships/image" Target="../media/image24.png"/><Relationship Id="rId4" Type="http://schemas.openxmlformats.org/officeDocument/2006/relationships/image" Target="../media/image20.emf"/></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411.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image" Target="../media/image15.emf"/><Relationship Id="rId5" Type="http://schemas.openxmlformats.org/officeDocument/2006/relationships/oleObject" Target="../embeddings/oleObject169.bin"/><Relationship Id="rId4"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3.xml"/><Relationship Id="rId1" Type="http://schemas.openxmlformats.org/officeDocument/2006/relationships/tags" Target="../tags/tag412.xml"/><Relationship Id="rId5" Type="http://schemas.openxmlformats.org/officeDocument/2006/relationships/image" Target="../media/image15.emf"/><Relationship Id="rId4" Type="http://schemas.openxmlformats.org/officeDocument/2006/relationships/oleObject" Target="../embeddings/oleObject17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5.xml"/><Relationship Id="rId1" Type="http://schemas.openxmlformats.org/officeDocument/2006/relationships/tags" Target="../tags/tag414.xml"/><Relationship Id="rId5" Type="http://schemas.openxmlformats.org/officeDocument/2006/relationships/image" Target="../media/image15.emf"/><Relationship Id="rId4" Type="http://schemas.openxmlformats.org/officeDocument/2006/relationships/oleObject" Target="../embeddings/oleObject171.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image" Target="../media/image15.emf"/><Relationship Id="rId4" Type="http://schemas.openxmlformats.org/officeDocument/2006/relationships/oleObject" Target="../embeddings/oleObject17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7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1.xml"/><Relationship Id="rId1" Type="http://schemas.openxmlformats.org/officeDocument/2006/relationships/tags" Target="../tags/tag420.xml"/><Relationship Id="rId5" Type="http://schemas.openxmlformats.org/officeDocument/2006/relationships/image" Target="../media/image15.emf"/><Relationship Id="rId4" Type="http://schemas.openxmlformats.org/officeDocument/2006/relationships/oleObject" Target="../embeddings/oleObject174.bin"/></Relationships>
</file>

<file path=ppt/slideLayouts/_rels/slideLayout19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75.bin"/></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426.xml"/><Relationship Id="rId7" Type="http://schemas.openxmlformats.org/officeDocument/2006/relationships/image" Target="../media/image7.wmf"/><Relationship Id="rId2" Type="http://schemas.openxmlformats.org/officeDocument/2006/relationships/tags" Target="../tags/tag425.xml"/><Relationship Id="rId1" Type="http://schemas.openxmlformats.org/officeDocument/2006/relationships/tags" Target="../tags/tag424.xml"/><Relationship Id="rId6" Type="http://schemas.openxmlformats.org/officeDocument/2006/relationships/image" Target="../media/image15.emf"/><Relationship Id="rId5" Type="http://schemas.openxmlformats.org/officeDocument/2006/relationships/oleObject" Target="../embeddings/oleObject176.bin"/><Relationship Id="rId4"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image" Target="../media/image15.emf"/><Relationship Id="rId5" Type="http://schemas.openxmlformats.org/officeDocument/2006/relationships/oleObject" Target="../embeddings/oleObject177.bin"/><Relationship Id="rId4"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image" Target="../media/image15.emf"/><Relationship Id="rId5" Type="http://schemas.openxmlformats.org/officeDocument/2006/relationships/oleObject" Target="../embeddings/oleObject178.bin"/><Relationship Id="rId4"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4.xml"/><Relationship Id="rId1" Type="http://schemas.openxmlformats.org/officeDocument/2006/relationships/tags" Target="../tags/tag433.xml"/><Relationship Id="rId5" Type="http://schemas.openxmlformats.org/officeDocument/2006/relationships/image" Target="../media/image15.emf"/><Relationship Id="rId4" Type="http://schemas.openxmlformats.org/officeDocument/2006/relationships/oleObject" Target="../embeddings/oleObject179.bin"/></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437.xml"/><Relationship Id="rId7" Type="http://schemas.openxmlformats.org/officeDocument/2006/relationships/image" Target="../media/image17.png"/><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image" Target="../media/image15.emf"/><Relationship Id="rId5" Type="http://schemas.openxmlformats.org/officeDocument/2006/relationships/oleObject" Target="../embeddings/oleObject180.bin"/><Relationship Id="rId4"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17.png"/><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image" Target="../media/image15.emf"/><Relationship Id="rId5" Type="http://schemas.openxmlformats.org/officeDocument/2006/relationships/oleObject" Target="../embeddings/oleObject181.bin"/><Relationship Id="rId4"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443.xml"/><Relationship Id="rId7" Type="http://schemas.openxmlformats.org/officeDocument/2006/relationships/image" Target="../media/image17.png"/><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image" Target="../media/image15.emf"/><Relationship Id="rId5" Type="http://schemas.openxmlformats.org/officeDocument/2006/relationships/oleObject" Target="../embeddings/oleObject182.bin"/><Relationship Id="rId4"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cid:image001.png@01D86F70.71A8D560"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446.xml"/><Relationship Id="rId7" Type="http://schemas.openxmlformats.org/officeDocument/2006/relationships/image" Target="../media/image17.png"/><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image" Target="../media/image15.emf"/><Relationship Id="rId5" Type="http://schemas.openxmlformats.org/officeDocument/2006/relationships/oleObject" Target="../embeddings/oleObject183.bin"/><Relationship Id="rId4"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449.xml"/><Relationship Id="rId7" Type="http://schemas.openxmlformats.org/officeDocument/2006/relationships/image" Target="../media/image17.png"/><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image" Target="../media/image15.emf"/><Relationship Id="rId5" Type="http://schemas.openxmlformats.org/officeDocument/2006/relationships/oleObject" Target="../embeddings/oleObject184.bin"/><Relationship Id="rId4"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452.xml"/><Relationship Id="rId7" Type="http://schemas.openxmlformats.org/officeDocument/2006/relationships/image" Target="../media/image17.png"/><Relationship Id="rId2" Type="http://schemas.openxmlformats.org/officeDocument/2006/relationships/tags" Target="../tags/tag451.xml"/><Relationship Id="rId1" Type="http://schemas.openxmlformats.org/officeDocument/2006/relationships/tags" Target="../tags/tag450.xml"/><Relationship Id="rId6" Type="http://schemas.openxmlformats.org/officeDocument/2006/relationships/image" Target="../media/image15.emf"/><Relationship Id="rId5" Type="http://schemas.openxmlformats.org/officeDocument/2006/relationships/oleObject" Target="../embeddings/oleObject185.bin"/><Relationship Id="rId4"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image" Target="../media/image18.png"/><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image" Target="../media/image20.emf"/><Relationship Id="rId5" Type="http://schemas.openxmlformats.org/officeDocument/2006/relationships/oleObject" Target="../embeddings/oleObject186.bin"/><Relationship Id="rId4"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image" Target="../media/image19.png"/><Relationship Id="rId2" Type="http://schemas.openxmlformats.org/officeDocument/2006/relationships/tags" Target="../tags/tag457.xml"/><Relationship Id="rId1" Type="http://schemas.openxmlformats.org/officeDocument/2006/relationships/tags" Target="../tags/tag456.xml"/><Relationship Id="rId6" Type="http://schemas.openxmlformats.org/officeDocument/2006/relationships/image" Target="../media/image15.emf"/><Relationship Id="rId5" Type="http://schemas.openxmlformats.org/officeDocument/2006/relationships/oleObject" Target="../embeddings/oleObject187.bin"/><Relationship Id="rId4"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461.xml"/><Relationship Id="rId7" Type="http://schemas.openxmlformats.org/officeDocument/2006/relationships/image" Target="../media/image21.png"/><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image" Target="../media/image15.emf"/><Relationship Id="rId5" Type="http://schemas.openxmlformats.org/officeDocument/2006/relationships/oleObject" Target="../embeddings/oleObject188.bin"/><Relationship Id="rId4"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464.xml"/><Relationship Id="rId7" Type="http://schemas.openxmlformats.org/officeDocument/2006/relationships/image" Target="../media/image22.png"/><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image" Target="../media/image15.emf"/><Relationship Id="rId5" Type="http://schemas.openxmlformats.org/officeDocument/2006/relationships/oleObject" Target="../embeddings/oleObject189.bin"/><Relationship Id="rId4"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467.xml"/><Relationship Id="rId7" Type="http://schemas.openxmlformats.org/officeDocument/2006/relationships/image" Target="../media/image18.png"/><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image" Target="../media/image15.emf"/><Relationship Id="rId5" Type="http://schemas.openxmlformats.org/officeDocument/2006/relationships/oleObject" Target="../embeddings/oleObject190.bin"/><Relationship Id="rId4"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470.xml"/><Relationship Id="rId7" Type="http://schemas.openxmlformats.org/officeDocument/2006/relationships/image" Target="../media/image23.png"/><Relationship Id="rId2" Type="http://schemas.openxmlformats.org/officeDocument/2006/relationships/tags" Target="../tags/tag469.xml"/><Relationship Id="rId1" Type="http://schemas.openxmlformats.org/officeDocument/2006/relationships/tags" Target="../tags/tag468.xml"/><Relationship Id="rId6" Type="http://schemas.openxmlformats.org/officeDocument/2006/relationships/image" Target="../media/image15.emf"/><Relationship Id="rId5" Type="http://schemas.openxmlformats.org/officeDocument/2006/relationships/oleObject" Target="../embeddings/oleObject191.bin"/><Relationship Id="rId4"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473.xml"/><Relationship Id="rId7" Type="http://schemas.openxmlformats.org/officeDocument/2006/relationships/image" Target="../media/image18.png"/><Relationship Id="rId2" Type="http://schemas.openxmlformats.org/officeDocument/2006/relationships/tags" Target="../tags/tag472.xml"/><Relationship Id="rId1" Type="http://schemas.openxmlformats.org/officeDocument/2006/relationships/tags" Target="../tags/tag471.xml"/><Relationship Id="rId6" Type="http://schemas.openxmlformats.org/officeDocument/2006/relationships/image" Target="../media/image15.emf"/><Relationship Id="rId5" Type="http://schemas.openxmlformats.org/officeDocument/2006/relationships/oleObject" Target="../embeddings/oleObject192.bin"/><Relationship Id="rId4"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476.xml"/><Relationship Id="rId7" Type="http://schemas.openxmlformats.org/officeDocument/2006/relationships/image" Target="../media/image23.png"/><Relationship Id="rId2" Type="http://schemas.openxmlformats.org/officeDocument/2006/relationships/tags" Target="../tags/tag475.xml"/><Relationship Id="rId1" Type="http://schemas.openxmlformats.org/officeDocument/2006/relationships/tags" Target="../tags/tag474.xml"/><Relationship Id="rId6" Type="http://schemas.openxmlformats.org/officeDocument/2006/relationships/image" Target="../media/image15.emf"/><Relationship Id="rId5" Type="http://schemas.openxmlformats.org/officeDocument/2006/relationships/oleObject" Target="../embeddings/oleObject193.bin"/><Relationship Id="rId4"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image" Target="../media/image15.emf"/><Relationship Id="rId5" Type="http://schemas.openxmlformats.org/officeDocument/2006/relationships/oleObject" Target="../embeddings/oleObject194.bin"/><Relationship Id="rId4"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image" Target="../media/image15.emf"/><Relationship Id="rId5" Type="http://schemas.openxmlformats.org/officeDocument/2006/relationships/oleObject" Target="../embeddings/oleObject195.bin"/><Relationship Id="rId4"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6.xml"/><Relationship Id="rId1" Type="http://schemas.openxmlformats.org/officeDocument/2006/relationships/tags" Target="../tags/tag483.xml"/><Relationship Id="rId5" Type="http://schemas.openxmlformats.org/officeDocument/2006/relationships/image" Target="../media/image24.png"/><Relationship Id="rId4" Type="http://schemas.openxmlformats.org/officeDocument/2006/relationships/image" Target="../media/image25.emf"/></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image" Target="../media/image15.emf"/><Relationship Id="rId5" Type="http://schemas.openxmlformats.org/officeDocument/2006/relationships/oleObject" Target="../embeddings/oleObject197.bin"/><Relationship Id="rId4"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98.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0.xml"/><Relationship Id="rId1" Type="http://schemas.openxmlformats.org/officeDocument/2006/relationships/tags" Target="../tags/tag489.xml"/><Relationship Id="rId5" Type="http://schemas.openxmlformats.org/officeDocument/2006/relationships/image" Target="../media/image15.emf"/><Relationship Id="rId4" Type="http://schemas.openxmlformats.org/officeDocument/2006/relationships/oleObject" Target="../embeddings/oleObject199.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2.xml"/><Relationship Id="rId1" Type="http://schemas.openxmlformats.org/officeDocument/2006/relationships/tags" Target="../tags/tag491.xml"/><Relationship Id="rId5" Type="http://schemas.openxmlformats.org/officeDocument/2006/relationships/image" Target="../media/image15.emf"/><Relationship Id="rId4" Type="http://schemas.openxmlformats.org/officeDocument/2006/relationships/oleObject" Target="../embeddings/oleObject200.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4.xml"/><Relationship Id="rId1" Type="http://schemas.openxmlformats.org/officeDocument/2006/relationships/tags" Target="../tags/tag493.xml"/><Relationship Id="rId5" Type="http://schemas.openxmlformats.org/officeDocument/2006/relationships/image" Target="../media/image15.emf"/><Relationship Id="rId4" Type="http://schemas.openxmlformats.org/officeDocument/2006/relationships/oleObject" Target="../embeddings/oleObject201.bin"/></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6.xml"/><Relationship Id="rId7" Type="http://schemas.openxmlformats.org/officeDocument/2006/relationships/image" Target="../media/image7.wmf"/><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0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w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5.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8.xml"/><Relationship Id="rId1" Type="http://schemas.openxmlformats.org/officeDocument/2006/relationships/tags" Target="../tags/tag497.xml"/><Relationship Id="rId5" Type="http://schemas.openxmlformats.org/officeDocument/2006/relationships/image" Target="../media/image15.emf"/><Relationship Id="rId4" Type="http://schemas.openxmlformats.org/officeDocument/2006/relationships/oleObject" Target="../embeddings/oleObject203.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0.xml"/><Relationship Id="rId1" Type="http://schemas.openxmlformats.org/officeDocument/2006/relationships/tags" Target="../tags/tag499.xml"/><Relationship Id="rId5" Type="http://schemas.openxmlformats.org/officeDocument/2006/relationships/image" Target="../media/image15.emf"/><Relationship Id="rId4" Type="http://schemas.openxmlformats.org/officeDocument/2006/relationships/oleObject" Target="../embeddings/oleObject204.bin"/></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6.xml"/><Relationship Id="rId1" Type="http://schemas.openxmlformats.org/officeDocument/2006/relationships/tags" Target="../tags/tag501.xml"/><Relationship Id="rId4" Type="http://schemas.openxmlformats.org/officeDocument/2006/relationships/image" Target="../media/image15.emf"/></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3.xml"/><Relationship Id="rId1" Type="http://schemas.openxmlformats.org/officeDocument/2006/relationships/tags" Target="../tags/tag502.xml"/><Relationship Id="rId5" Type="http://schemas.openxmlformats.org/officeDocument/2006/relationships/image" Target="../media/image15.emf"/><Relationship Id="rId4" Type="http://schemas.openxmlformats.org/officeDocument/2006/relationships/oleObject" Target="../embeddings/oleObject206.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207.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7.xml"/><Relationship Id="rId1" Type="http://schemas.openxmlformats.org/officeDocument/2006/relationships/tags" Target="../tags/tag506.xml"/><Relationship Id="rId5" Type="http://schemas.openxmlformats.org/officeDocument/2006/relationships/image" Target="../media/image15.emf"/><Relationship Id="rId4" Type="http://schemas.openxmlformats.org/officeDocument/2006/relationships/oleObject" Target="../embeddings/oleObject208.bin"/></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6.xml"/><Relationship Id="rId1" Type="http://schemas.openxmlformats.org/officeDocument/2006/relationships/tags" Target="../tags/tag508.xml"/><Relationship Id="rId4" Type="http://schemas.openxmlformats.org/officeDocument/2006/relationships/image" Target="../media/image15.emf"/></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0.xml"/><Relationship Id="rId1" Type="http://schemas.openxmlformats.org/officeDocument/2006/relationships/tags" Target="../tags/tag509.xml"/><Relationship Id="rId5" Type="http://schemas.openxmlformats.org/officeDocument/2006/relationships/image" Target="../media/image15.emf"/><Relationship Id="rId4" Type="http://schemas.openxmlformats.org/officeDocument/2006/relationships/oleObject" Target="../embeddings/oleObject210.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211.bin"/></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6.xml"/><Relationship Id="rId1" Type="http://schemas.openxmlformats.org/officeDocument/2006/relationships/tags" Target="../tags/tag513.xml"/><Relationship Id="rId5" Type="http://schemas.openxmlformats.org/officeDocument/2006/relationships/image" Target="../media/image18.png"/><Relationship Id="rId4" Type="http://schemas.openxmlformats.org/officeDocument/2006/relationships/image" Target="../media/image15.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5.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5.emf"/><Relationship Id="rId4" Type="http://schemas.openxmlformats.org/officeDocument/2006/relationships/oleObject" Target="../embeddings/oleObject15.bin"/></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14.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9.jpeg"/><Relationship Id="rId2" Type="http://schemas.openxmlformats.org/officeDocument/2006/relationships/tags" Target="../tags/tag552.xml"/><Relationship Id="rId1" Type="http://schemas.openxmlformats.org/officeDocument/2006/relationships/tags" Target="../tags/tag551.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15.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4.xml"/><Relationship Id="rId1" Type="http://schemas.openxmlformats.org/officeDocument/2006/relationships/tags" Target="../tags/tag553.xml"/><Relationship Id="rId5" Type="http://schemas.openxmlformats.org/officeDocument/2006/relationships/image" Target="../media/image40.emf"/><Relationship Id="rId4" Type="http://schemas.openxmlformats.org/officeDocument/2006/relationships/oleObject" Target="../embeddings/oleObject216.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image" Target="../media/image41.jpeg"/><Relationship Id="rId5" Type="http://schemas.openxmlformats.org/officeDocument/2006/relationships/image" Target="../media/image40.emf"/><Relationship Id="rId4" Type="http://schemas.openxmlformats.org/officeDocument/2006/relationships/oleObject" Target="../embeddings/oleObject217.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19.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9.jpeg"/><Relationship Id="rId2" Type="http://schemas.openxmlformats.org/officeDocument/2006/relationships/tags" Target="../tags/tag595.xml"/><Relationship Id="rId1" Type="http://schemas.openxmlformats.org/officeDocument/2006/relationships/tags" Target="../tags/tag594.xml"/><Relationship Id="rId6" Type="http://schemas.openxmlformats.org/officeDocument/2006/relationships/image" Target="../media/image38.jpeg"/><Relationship Id="rId5" Type="http://schemas.openxmlformats.org/officeDocument/2006/relationships/image" Target="../media/image9.emf"/><Relationship Id="rId4" Type="http://schemas.openxmlformats.org/officeDocument/2006/relationships/oleObject" Target="../embeddings/oleObject220.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7.xml"/><Relationship Id="rId1" Type="http://schemas.openxmlformats.org/officeDocument/2006/relationships/tags" Target="../tags/tag596.xml"/><Relationship Id="rId5" Type="http://schemas.openxmlformats.org/officeDocument/2006/relationships/image" Target="../media/image40.emf"/><Relationship Id="rId4" Type="http://schemas.openxmlformats.org/officeDocument/2006/relationships/oleObject" Target="../embeddings/oleObject221.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image" Target="../media/image41.jpeg"/><Relationship Id="rId5" Type="http://schemas.openxmlformats.org/officeDocument/2006/relationships/image" Target="../media/image40.emf"/><Relationship Id="rId4" Type="http://schemas.openxmlformats.org/officeDocument/2006/relationships/oleObject" Target="../embeddings/oleObject222.bin"/></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11.xml"/><Relationship Id="rId1" Type="http://schemas.openxmlformats.org/officeDocument/2006/relationships/tags" Target="../tags/tag602.xml"/><Relationship Id="rId4" Type="http://schemas.openxmlformats.org/officeDocument/2006/relationships/image" Target="../media/image6.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11.xml"/><Relationship Id="rId1" Type="http://schemas.openxmlformats.org/officeDocument/2006/relationships/tags" Target="../tags/tag603.xml"/><Relationship Id="rId4" Type="http://schemas.openxmlformats.org/officeDocument/2006/relationships/image" Target="../media/image6.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11.xml"/><Relationship Id="rId1" Type="http://schemas.openxmlformats.org/officeDocument/2006/relationships/tags" Target="../tags/tag604.xml"/><Relationship Id="rId4" Type="http://schemas.openxmlformats.org/officeDocument/2006/relationships/image" Target="../media/image6.emf"/></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5.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11.xml"/><Relationship Id="rId1" Type="http://schemas.openxmlformats.org/officeDocument/2006/relationships/tags" Target="../tags/tag605.xml"/><Relationship Id="rId4" Type="http://schemas.openxmlformats.org/officeDocument/2006/relationships/image" Target="../media/image6.emf"/></Relationships>
</file>

<file path=ppt/slideLayouts/_rels/slideLayout276.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11.xml"/><Relationship Id="rId1" Type="http://schemas.openxmlformats.org/officeDocument/2006/relationships/tags" Target="../tags/tag606.xml"/><Relationship Id="rId4" Type="http://schemas.openxmlformats.org/officeDocument/2006/relationships/image" Target="../media/image6.emf"/></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12.xml"/><Relationship Id="rId1" Type="http://schemas.openxmlformats.org/officeDocument/2006/relationships/tags" Target="../tags/tag609.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5.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12.xml"/><Relationship Id="rId1" Type="http://schemas.openxmlformats.org/officeDocument/2006/relationships/tags" Target="../tags/tag610.xml"/><Relationship Id="rId4" Type="http://schemas.openxmlformats.org/officeDocument/2006/relationships/image" Target="../media/image6.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12.xml"/><Relationship Id="rId1" Type="http://schemas.openxmlformats.org/officeDocument/2006/relationships/tags" Target="../tags/tag611.xml"/><Relationship Id="rId4" Type="http://schemas.openxmlformats.org/officeDocument/2006/relationships/image" Target="../media/image6.emf"/></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6.png"/><Relationship Id="rId1" Type="http://schemas.openxmlformats.org/officeDocument/2006/relationships/slideMaster" Target="../slideMasters/slideMaster13.xml"/><Relationship Id="rId4" Type="http://schemas.openxmlformats.org/officeDocument/2006/relationships/image" Target="../media/image48.pn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7.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5.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7.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5.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8.xml"/><Relationship Id="rId1" Type="http://schemas.openxmlformats.org/officeDocument/2006/relationships/tags" Target="../tags/tag647.xml"/><Relationship Id="rId6" Type="http://schemas.openxmlformats.org/officeDocument/2006/relationships/image" Target="../media/image56.png"/><Relationship Id="rId5" Type="http://schemas.openxmlformats.org/officeDocument/2006/relationships/image" Target="../media/image9.emf"/><Relationship Id="rId4" Type="http://schemas.openxmlformats.org/officeDocument/2006/relationships/oleObject" Target="../embeddings/oleObject234.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0.xml"/><Relationship Id="rId1" Type="http://schemas.openxmlformats.org/officeDocument/2006/relationships/tags" Target="../tags/tag649.xml"/><Relationship Id="rId6" Type="http://schemas.openxmlformats.org/officeDocument/2006/relationships/image" Target="../media/image56.png"/><Relationship Id="rId5" Type="http://schemas.openxmlformats.org/officeDocument/2006/relationships/image" Target="../media/image40.emf"/><Relationship Id="rId4" Type="http://schemas.openxmlformats.org/officeDocument/2006/relationships/oleObject" Target="../embeddings/oleObject235.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6.png"/><Relationship Id="rId2" Type="http://schemas.openxmlformats.org/officeDocument/2006/relationships/tags" Target="../tags/tag652.xml"/><Relationship Id="rId1" Type="http://schemas.openxmlformats.org/officeDocument/2006/relationships/tags" Target="../tags/tag651.xml"/><Relationship Id="rId6" Type="http://schemas.openxmlformats.org/officeDocument/2006/relationships/image" Target="../media/image41.jpeg"/><Relationship Id="rId5" Type="http://schemas.openxmlformats.org/officeDocument/2006/relationships/image" Target="../media/image40.emf"/><Relationship Id="rId4" Type="http://schemas.openxmlformats.org/officeDocument/2006/relationships/oleObject" Target="../embeddings/oleObject236.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4.xml"/><Relationship Id="rId1" Type="http://schemas.openxmlformats.org/officeDocument/2006/relationships/tags" Target="../tags/tag653.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37.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6.xml"/><Relationship Id="rId1" Type="http://schemas.openxmlformats.org/officeDocument/2006/relationships/tags" Target="../tags/tag655.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38.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8.xml"/><Relationship Id="rId1" Type="http://schemas.openxmlformats.org/officeDocument/2006/relationships/tags" Target="../tags/tag657.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39.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40.bin"/></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662.xml"/><Relationship Id="rId7" Type="http://schemas.openxmlformats.org/officeDocument/2006/relationships/image" Target="../media/image58.png"/><Relationship Id="rId2" Type="http://schemas.openxmlformats.org/officeDocument/2006/relationships/tags" Target="../tags/tag661.xml"/><Relationship Id="rId1" Type="http://schemas.openxmlformats.org/officeDocument/2006/relationships/themeOverride" Target="../theme/themeOverride1.xml"/><Relationship Id="rId6" Type="http://schemas.openxmlformats.org/officeDocument/2006/relationships/image" Target="../media/image57.emf"/><Relationship Id="rId5" Type="http://schemas.openxmlformats.org/officeDocument/2006/relationships/oleObject" Target="../embeddings/oleObject241.bin"/><Relationship Id="rId4"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5.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664.xml"/><Relationship Id="rId7" Type="http://schemas.openxmlformats.org/officeDocument/2006/relationships/image" Target="../media/image58.png"/><Relationship Id="rId2" Type="http://schemas.openxmlformats.org/officeDocument/2006/relationships/tags" Target="../tags/tag663.xml"/><Relationship Id="rId1" Type="http://schemas.openxmlformats.org/officeDocument/2006/relationships/themeOverride" Target="../theme/themeOverride2.xml"/><Relationship Id="rId6" Type="http://schemas.openxmlformats.org/officeDocument/2006/relationships/image" Target="../media/image57.emf"/><Relationship Id="rId5" Type="http://schemas.openxmlformats.org/officeDocument/2006/relationships/oleObject" Target="../embeddings/oleObject242.bin"/><Relationship Id="rId4"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66.xml"/><Relationship Id="rId7" Type="http://schemas.openxmlformats.org/officeDocument/2006/relationships/image" Target="../media/image29.png"/><Relationship Id="rId2" Type="http://schemas.openxmlformats.org/officeDocument/2006/relationships/tags" Target="../tags/tag665.xml"/><Relationship Id="rId1" Type="http://schemas.openxmlformats.org/officeDocument/2006/relationships/themeOverride" Target="../theme/themeOverride3.xml"/><Relationship Id="rId6" Type="http://schemas.openxmlformats.org/officeDocument/2006/relationships/image" Target="../media/image57.emf"/><Relationship Id="rId5" Type="http://schemas.openxmlformats.org/officeDocument/2006/relationships/oleObject" Target="../embeddings/oleObject243.bin"/><Relationship Id="rId4"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68.xml"/><Relationship Id="rId7" Type="http://schemas.openxmlformats.org/officeDocument/2006/relationships/image" Target="../media/image29.png"/><Relationship Id="rId2" Type="http://schemas.openxmlformats.org/officeDocument/2006/relationships/tags" Target="../tags/tag667.xml"/><Relationship Id="rId1" Type="http://schemas.openxmlformats.org/officeDocument/2006/relationships/themeOverride" Target="../theme/themeOverride4.xml"/><Relationship Id="rId6" Type="http://schemas.openxmlformats.org/officeDocument/2006/relationships/image" Target="../media/image57.emf"/><Relationship Id="rId5" Type="http://schemas.openxmlformats.org/officeDocument/2006/relationships/oleObject" Target="../embeddings/oleObject244.bin"/><Relationship Id="rId4"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670.xml"/><Relationship Id="rId7" Type="http://schemas.openxmlformats.org/officeDocument/2006/relationships/image" Target="../media/image29.png"/><Relationship Id="rId2" Type="http://schemas.openxmlformats.org/officeDocument/2006/relationships/tags" Target="../tags/tag669.xml"/><Relationship Id="rId1" Type="http://schemas.openxmlformats.org/officeDocument/2006/relationships/themeOverride" Target="../theme/themeOverride5.xml"/><Relationship Id="rId6" Type="http://schemas.openxmlformats.org/officeDocument/2006/relationships/image" Target="../media/image57.emf"/><Relationship Id="rId5" Type="http://schemas.openxmlformats.org/officeDocument/2006/relationships/oleObject" Target="../embeddings/oleObject245.bin"/><Relationship Id="rId4"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672.xml"/><Relationship Id="rId7" Type="http://schemas.openxmlformats.org/officeDocument/2006/relationships/image" Target="../media/image29.png"/><Relationship Id="rId2" Type="http://schemas.openxmlformats.org/officeDocument/2006/relationships/tags" Target="../tags/tag671.xml"/><Relationship Id="rId1" Type="http://schemas.openxmlformats.org/officeDocument/2006/relationships/themeOverride" Target="../theme/themeOverride6.xml"/><Relationship Id="rId6" Type="http://schemas.openxmlformats.org/officeDocument/2006/relationships/image" Target="../media/image57.emf"/><Relationship Id="rId5" Type="http://schemas.openxmlformats.org/officeDocument/2006/relationships/oleObject" Target="../embeddings/oleObject246.bin"/><Relationship Id="rId4"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674.xml"/><Relationship Id="rId7" Type="http://schemas.openxmlformats.org/officeDocument/2006/relationships/image" Target="../media/image29.png"/><Relationship Id="rId2" Type="http://schemas.openxmlformats.org/officeDocument/2006/relationships/tags" Target="../tags/tag673.xml"/><Relationship Id="rId1" Type="http://schemas.openxmlformats.org/officeDocument/2006/relationships/themeOverride" Target="../theme/themeOverride7.xml"/><Relationship Id="rId6" Type="http://schemas.openxmlformats.org/officeDocument/2006/relationships/image" Target="../media/image57.emf"/><Relationship Id="rId5" Type="http://schemas.openxmlformats.org/officeDocument/2006/relationships/oleObject" Target="../embeddings/oleObject247.bin"/><Relationship Id="rId4"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76.xml"/><Relationship Id="rId7" Type="http://schemas.openxmlformats.org/officeDocument/2006/relationships/image" Target="../media/image18.png"/><Relationship Id="rId2" Type="http://schemas.openxmlformats.org/officeDocument/2006/relationships/tags" Target="../tags/tag675.xml"/><Relationship Id="rId1" Type="http://schemas.openxmlformats.org/officeDocument/2006/relationships/themeOverride" Target="../theme/themeOverride8.xml"/><Relationship Id="rId6" Type="http://schemas.openxmlformats.org/officeDocument/2006/relationships/image" Target="../media/image57.emf"/><Relationship Id="rId5" Type="http://schemas.openxmlformats.org/officeDocument/2006/relationships/oleObject" Target="../embeddings/oleObject248.bin"/><Relationship Id="rId4"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78.xml"/><Relationship Id="rId1" Type="http://schemas.openxmlformats.org/officeDocument/2006/relationships/tags" Target="../tags/tag677.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49.bin"/></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80.xml"/><Relationship Id="rId7" Type="http://schemas.openxmlformats.org/officeDocument/2006/relationships/image" Target="../media/image21.png"/><Relationship Id="rId2" Type="http://schemas.openxmlformats.org/officeDocument/2006/relationships/tags" Target="../tags/tag679.xml"/><Relationship Id="rId1" Type="http://schemas.openxmlformats.org/officeDocument/2006/relationships/themeOverride" Target="../theme/themeOverride9.xml"/><Relationship Id="rId6" Type="http://schemas.openxmlformats.org/officeDocument/2006/relationships/image" Target="../media/image20.emf"/><Relationship Id="rId5" Type="http://schemas.openxmlformats.org/officeDocument/2006/relationships/oleObject" Target="../embeddings/oleObject250.bin"/><Relationship Id="rId4"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82.xml"/><Relationship Id="rId1" Type="http://schemas.openxmlformats.org/officeDocument/2006/relationships/tags" Target="../tags/tag681.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51.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9.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5.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84.xml"/><Relationship Id="rId7" Type="http://schemas.openxmlformats.org/officeDocument/2006/relationships/image" Target="../media/image18.png"/><Relationship Id="rId2" Type="http://schemas.openxmlformats.org/officeDocument/2006/relationships/tags" Target="../tags/tag683.xml"/><Relationship Id="rId1" Type="http://schemas.openxmlformats.org/officeDocument/2006/relationships/themeOverride" Target="../theme/themeOverride10.xml"/><Relationship Id="rId6" Type="http://schemas.openxmlformats.org/officeDocument/2006/relationships/image" Target="../media/image57.emf"/><Relationship Id="rId5" Type="http://schemas.openxmlformats.org/officeDocument/2006/relationships/oleObject" Target="../embeddings/oleObject252.bin"/><Relationship Id="rId4"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53.bin"/></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688.xml"/><Relationship Id="rId7" Type="http://schemas.openxmlformats.org/officeDocument/2006/relationships/image" Target="../media/image18.png"/><Relationship Id="rId2" Type="http://schemas.openxmlformats.org/officeDocument/2006/relationships/tags" Target="../tags/tag687.xml"/><Relationship Id="rId1" Type="http://schemas.openxmlformats.org/officeDocument/2006/relationships/themeOverride" Target="../theme/themeOverride11.xml"/><Relationship Id="rId6" Type="http://schemas.openxmlformats.org/officeDocument/2006/relationships/image" Target="../media/image57.emf"/><Relationship Id="rId5" Type="http://schemas.openxmlformats.org/officeDocument/2006/relationships/oleObject" Target="../embeddings/oleObject254.bin"/><Relationship Id="rId4"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690.xml"/><Relationship Id="rId1" Type="http://schemas.openxmlformats.org/officeDocument/2006/relationships/tags" Target="../tags/tag689.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55.bin"/></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692.xml"/><Relationship Id="rId7" Type="http://schemas.openxmlformats.org/officeDocument/2006/relationships/image" Target="../media/image58.png"/><Relationship Id="rId2" Type="http://schemas.openxmlformats.org/officeDocument/2006/relationships/tags" Target="../tags/tag691.xml"/><Relationship Id="rId1" Type="http://schemas.openxmlformats.org/officeDocument/2006/relationships/themeOverride" Target="../theme/themeOverride12.xml"/><Relationship Id="rId6" Type="http://schemas.openxmlformats.org/officeDocument/2006/relationships/image" Target="../media/image57.emf"/><Relationship Id="rId5" Type="http://schemas.openxmlformats.org/officeDocument/2006/relationships/oleObject" Target="../embeddings/oleObject256.bin"/><Relationship Id="rId4"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57.bin"/></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58.bin"/><Relationship Id="rId2" Type="http://schemas.openxmlformats.org/officeDocument/2006/relationships/slideMaster" Target="../slideMasters/slideMaster15.xml"/><Relationship Id="rId1" Type="http://schemas.openxmlformats.org/officeDocument/2006/relationships/tags" Target="../tags/tag695.xml"/><Relationship Id="rId6" Type="http://schemas.openxmlformats.org/officeDocument/2006/relationships/image" Target="../media/image58.png"/><Relationship Id="rId5" Type="http://schemas.openxmlformats.org/officeDocument/2006/relationships/image" Target="../media/image24.png"/><Relationship Id="rId4" Type="http://schemas.openxmlformats.org/officeDocument/2006/relationships/image" Target="../media/image20.emf"/></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7.xml"/><Relationship Id="rId1" Type="http://schemas.openxmlformats.org/officeDocument/2006/relationships/tags" Target="../tags/tag696.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59.bin"/></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260.bin"/><Relationship Id="rId2" Type="http://schemas.openxmlformats.org/officeDocument/2006/relationships/slideMaster" Target="../slideMasters/slideMaster15.xml"/><Relationship Id="rId1" Type="http://schemas.openxmlformats.org/officeDocument/2006/relationships/tags" Target="../tags/tag698.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9.xml"/><Relationship Id="rId1" Type="http://schemas.openxmlformats.org/officeDocument/2006/relationships/themeOverride" Target="../theme/themeOverride13.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61.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1.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0.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262.bin"/><Relationship Id="rId2" Type="http://schemas.openxmlformats.org/officeDocument/2006/relationships/slideMaster" Target="../slideMasters/slideMaster15.xml"/><Relationship Id="rId1" Type="http://schemas.openxmlformats.org/officeDocument/2006/relationships/tags" Target="../tags/tag700.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63.bin"/><Relationship Id="rId2" Type="http://schemas.openxmlformats.org/officeDocument/2006/relationships/slideMaster" Target="../slideMasters/slideMaster15.xml"/><Relationship Id="rId1" Type="http://schemas.openxmlformats.org/officeDocument/2006/relationships/tags" Target="../tags/tag701.xml"/><Relationship Id="rId5" Type="http://schemas.openxmlformats.org/officeDocument/2006/relationships/image" Target="../media/image56.png"/><Relationship Id="rId4" Type="http://schemas.openxmlformats.org/officeDocument/2006/relationships/image" Target="../media/image25.emf"/></Relationships>
</file>

<file path=ppt/slideLayouts/_rels/slideLayout332.xml.rels><?xml version="1.0" encoding="UTF-8" standalone="yes"?>
<Relationships xmlns="http://schemas.openxmlformats.org/package/2006/relationships"><Relationship Id="rId3" Type="http://schemas.openxmlformats.org/officeDocument/2006/relationships/oleObject" Target="../embeddings/oleObject264.bin"/><Relationship Id="rId2" Type="http://schemas.openxmlformats.org/officeDocument/2006/relationships/slideMaster" Target="../slideMasters/slideMaster15.xml"/><Relationship Id="rId1" Type="http://schemas.openxmlformats.org/officeDocument/2006/relationships/tags" Target="../tags/tag702.xml"/><Relationship Id="rId4" Type="http://schemas.openxmlformats.org/officeDocument/2006/relationships/image" Target="../media/image57.emf"/></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4.xml"/><Relationship Id="rId1" Type="http://schemas.openxmlformats.org/officeDocument/2006/relationships/tags" Target="../tags/tag703.xml"/><Relationship Id="rId6" Type="http://schemas.openxmlformats.org/officeDocument/2006/relationships/image" Target="../media/image56.png"/><Relationship Id="rId5" Type="http://schemas.openxmlformats.org/officeDocument/2006/relationships/image" Target="../media/image25.emf"/><Relationship Id="rId4" Type="http://schemas.openxmlformats.org/officeDocument/2006/relationships/oleObject" Target="../embeddings/oleObject265.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6.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8.xml"/><Relationship Id="rId1" Type="http://schemas.openxmlformats.org/officeDocument/2006/relationships/tags" Target="../tags/tag707.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7.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10.xml"/><Relationship Id="rId1" Type="http://schemas.openxmlformats.org/officeDocument/2006/relationships/tags" Target="../tags/tag709.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8.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69.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70.bin"/></Relationships>
</file>

<file path=ppt/slideLayouts/_rels/slideLayout33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16.xml"/><Relationship Id="rId7" Type="http://schemas.openxmlformats.org/officeDocument/2006/relationships/image" Target="../media/image29.png"/><Relationship Id="rId2" Type="http://schemas.openxmlformats.org/officeDocument/2006/relationships/tags" Target="../tags/tag715.xml"/><Relationship Id="rId1" Type="http://schemas.openxmlformats.org/officeDocument/2006/relationships/themeOverride" Target="../theme/themeOverride14.xml"/><Relationship Id="rId6" Type="http://schemas.openxmlformats.org/officeDocument/2006/relationships/image" Target="../media/image57.emf"/><Relationship Id="rId5" Type="http://schemas.openxmlformats.org/officeDocument/2006/relationships/oleObject" Target="../embeddings/oleObject271.bin"/><Relationship Id="rId4"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2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5.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18.xml"/><Relationship Id="rId7" Type="http://schemas.openxmlformats.org/officeDocument/2006/relationships/image" Target="../media/image29.png"/><Relationship Id="rId2" Type="http://schemas.openxmlformats.org/officeDocument/2006/relationships/tags" Target="../tags/tag717.xml"/><Relationship Id="rId1" Type="http://schemas.openxmlformats.org/officeDocument/2006/relationships/themeOverride" Target="../theme/themeOverride15.xml"/><Relationship Id="rId6" Type="http://schemas.openxmlformats.org/officeDocument/2006/relationships/image" Target="../media/image57.emf"/><Relationship Id="rId5" Type="http://schemas.openxmlformats.org/officeDocument/2006/relationships/oleObject" Target="../embeddings/oleObject272.bin"/><Relationship Id="rId4" Type="http://schemas.openxmlformats.org/officeDocument/2006/relationships/slideMaster" Target="../slideMasters/slideMaster15.xml"/></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20.xml"/><Relationship Id="rId7" Type="http://schemas.openxmlformats.org/officeDocument/2006/relationships/image" Target="../media/image29.png"/><Relationship Id="rId2" Type="http://schemas.openxmlformats.org/officeDocument/2006/relationships/tags" Target="../tags/tag719.xml"/><Relationship Id="rId1" Type="http://schemas.openxmlformats.org/officeDocument/2006/relationships/themeOverride" Target="../theme/themeOverride16.xml"/><Relationship Id="rId6" Type="http://schemas.openxmlformats.org/officeDocument/2006/relationships/image" Target="../media/image57.emf"/><Relationship Id="rId5" Type="http://schemas.openxmlformats.org/officeDocument/2006/relationships/oleObject" Target="../embeddings/oleObject273.bin"/><Relationship Id="rId4"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722.xml"/><Relationship Id="rId7" Type="http://schemas.openxmlformats.org/officeDocument/2006/relationships/image" Target="../media/image29.png"/><Relationship Id="rId2" Type="http://schemas.openxmlformats.org/officeDocument/2006/relationships/tags" Target="../tags/tag721.xml"/><Relationship Id="rId1" Type="http://schemas.openxmlformats.org/officeDocument/2006/relationships/themeOverride" Target="../theme/themeOverride17.xml"/><Relationship Id="rId6" Type="http://schemas.openxmlformats.org/officeDocument/2006/relationships/image" Target="../media/image57.emf"/><Relationship Id="rId5" Type="http://schemas.openxmlformats.org/officeDocument/2006/relationships/oleObject" Target="../embeddings/oleObject274.bin"/><Relationship Id="rId4"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724.xml"/><Relationship Id="rId7" Type="http://schemas.openxmlformats.org/officeDocument/2006/relationships/image" Target="../media/image29.png"/><Relationship Id="rId2" Type="http://schemas.openxmlformats.org/officeDocument/2006/relationships/tags" Target="../tags/tag723.xml"/><Relationship Id="rId1" Type="http://schemas.openxmlformats.org/officeDocument/2006/relationships/themeOverride" Target="../theme/themeOverride18.xml"/><Relationship Id="rId6" Type="http://schemas.openxmlformats.org/officeDocument/2006/relationships/image" Target="../media/image57.emf"/><Relationship Id="rId5" Type="http://schemas.openxmlformats.org/officeDocument/2006/relationships/oleObject" Target="../embeddings/oleObject275.bin"/><Relationship Id="rId4"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726.xml"/><Relationship Id="rId7" Type="http://schemas.openxmlformats.org/officeDocument/2006/relationships/image" Target="../media/image29.png"/><Relationship Id="rId2" Type="http://schemas.openxmlformats.org/officeDocument/2006/relationships/tags" Target="../tags/tag725.xml"/><Relationship Id="rId1" Type="http://schemas.openxmlformats.org/officeDocument/2006/relationships/themeOverride" Target="../theme/themeOverride19.xml"/><Relationship Id="rId6" Type="http://schemas.openxmlformats.org/officeDocument/2006/relationships/image" Target="../media/image57.emf"/><Relationship Id="rId5" Type="http://schemas.openxmlformats.org/officeDocument/2006/relationships/oleObject" Target="../embeddings/oleObject276.bin"/><Relationship Id="rId4"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28.xml"/><Relationship Id="rId7" Type="http://schemas.openxmlformats.org/officeDocument/2006/relationships/image" Target="../media/image18.png"/><Relationship Id="rId2" Type="http://schemas.openxmlformats.org/officeDocument/2006/relationships/tags" Target="../tags/tag727.xml"/><Relationship Id="rId1" Type="http://schemas.openxmlformats.org/officeDocument/2006/relationships/themeOverride" Target="../theme/themeOverride20.xml"/><Relationship Id="rId6" Type="http://schemas.openxmlformats.org/officeDocument/2006/relationships/image" Target="../media/image20.emf"/><Relationship Id="rId5" Type="http://schemas.openxmlformats.org/officeDocument/2006/relationships/oleObject" Target="../embeddings/oleObject277.bin"/><Relationship Id="rId4"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78.bin"/></Relationships>
</file>

<file path=ppt/slideLayouts/_rels/slideLayout34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32.xml"/><Relationship Id="rId7" Type="http://schemas.openxmlformats.org/officeDocument/2006/relationships/image" Target="../media/image21.png"/><Relationship Id="rId2" Type="http://schemas.openxmlformats.org/officeDocument/2006/relationships/tags" Target="../tags/tag731.xml"/><Relationship Id="rId1" Type="http://schemas.openxmlformats.org/officeDocument/2006/relationships/themeOverride" Target="../theme/themeOverride21.xml"/><Relationship Id="rId6" Type="http://schemas.openxmlformats.org/officeDocument/2006/relationships/image" Target="../media/image57.emf"/><Relationship Id="rId5" Type="http://schemas.openxmlformats.org/officeDocument/2006/relationships/oleObject" Target="../embeddings/oleObject279.bin"/><Relationship Id="rId4"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34.xml"/><Relationship Id="rId1" Type="http://schemas.openxmlformats.org/officeDocument/2006/relationships/tags" Target="../tags/tag733.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80.bin"/></Relationships>
</file>

<file path=ppt/slideLayouts/_rels/slideLayout34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36.xml"/><Relationship Id="rId7" Type="http://schemas.openxmlformats.org/officeDocument/2006/relationships/image" Target="../media/image18.png"/><Relationship Id="rId2" Type="http://schemas.openxmlformats.org/officeDocument/2006/relationships/tags" Target="../tags/tag735.xml"/><Relationship Id="rId1" Type="http://schemas.openxmlformats.org/officeDocument/2006/relationships/themeOverride" Target="../theme/themeOverride22.xml"/><Relationship Id="rId6" Type="http://schemas.openxmlformats.org/officeDocument/2006/relationships/image" Target="../media/image57.emf"/><Relationship Id="rId5" Type="http://schemas.openxmlformats.org/officeDocument/2006/relationships/oleObject" Target="../embeddings/oleObject281.bin"/><Relationship Id="rId4"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8.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5.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38.xml"/><Relationship Id="rId1" Type="http://schemas.openxmlformats.org/officeDocument/2006/relationships/tags" Target="../tags/tag737.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82.bin"/></Relationships>
</file>

<file path=ppt/slideLayouts/_rels/slideLayout35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740.xml"/><Relationship Id="rId7" Type="http://schemas.openxmlformats.org/officeDocument/2006/relationships/image" Target="../media/image18.png"/><Relationship Id="rId2" Type="http://schemas.openxmlformats.org/officeDocument/2006/relationships/tags" Target="../tags/tag739.xml"/><Relationship Id="rId1" Type="http://schemas.openxmlformats.org/officeDocument/2006/relationships/themeOverride" Target="../theme/themeOverride23.xml"/><Relationship Id="rId6" Type="http://schemas.openxmlformats.org/officeDocument/2006/relationships/image" Target="../media/image57.emf"/><Relationship Id="rId5" Type="http://schemas.openxmlformats.org/officeDocument/2006/relationships/oleObject" Target="../embeddings/oleObject283.bin"/><Relationship Id="rId4"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42.xml"/><Relationship Id="rId1" Type="http://schemas.openxmlformats.org/officeDocument/2006/relationships/tags" Target="../tags/tag741.xml"/><Relationship Id="rId6" Type="http://schemas.openxmlformats.org/officeDocument/2006/relationships/image" Target="../media/image59.png"/><Relationship Id="rId5" Type="http://schemas.openxmlformats.org/officeDocument/2006/relationships/image" Target="../media/image57.emf"/><Relationship Id="rId4" Type="http://schemas.openxmlformats.org/officeDocument/2006/relationships/oleObject" Target="../embeddings/oleObject284.bin"/></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image" Target="../media/image58.png"/><Relationship Id="rId2" Type="http://schemas.openxmlformats.org/officeDocument/2006/relationships/tags" Target="../tags/tag743.xml"/><Relationship Id="rId1" Type="http://schemas.openxmlformats.org/officeDocument/2006/relationships/themeOverride" Target="../theme/themeOverride24.xml"/><Relationship Id="rId6" Type="http://schemas.openxmlformats.org/officeDocument/2006/relationships/image" Target="../media/image57.emf"/><Relationship Id="rId5" Type="http://schemas.openxmlformats.org/officeDocument/2006/relationships/oleObject" Target="../embeddings/oleObject285.bin"/><Relationship Id="rId4"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6.xml"/><Relationship Id="rId1" Type="http://schemas.openxmlformats.org/officeDocument/2006/relationships/tags" Target="../tags/tag745.xml"/><Relationship Id="rId6" Type="http://schemas.openxmlformats.org/officeDocument/2006/relationships/image" Target="../media/image56.png"/><Relationship Id="rId5" Type="http://schemas.openxmlformats.org/officeDocument/2006/relationships/image" Target="../media/image57.emf"/><Relationship Id="rId4" Type="http://schemas.openxmlformats.org/officeDocument/2006/relationships/oleObject" Target="../embeddings/oleObject286.bin"/></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287.bin"/><Relationship Id="rId2" Type="http://schemas.openxmlformats.org/officeDocument/2006/relationships/slideMaster" Target="../slideMasters/slideMaster15.xml"/><Relationship Id="rId1" Type="http://schemas.openxmlformats.org/officeDocument/2006/relationships/tags" Target="../tags/tag747.xml"/><Relationship Id="rId6" Type="http://schemas.openxmlformats.org/officeDocument/2006/relationships/image" Target="../media/image58.png"/><Relationship Id="rId5" Type="http://schemas.openxmlformats.org/officeDocument/2006/relationships/image" Target="../media/image24.png"/><Relationship Id="rId4" Type="http://schemas.openxmlformats.org/officeDocument/2006/relationships/image" Target="../media/image25.emf"/></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9.xml"/><Relationship Id="rId1" Type="http://schemas.openxmlformats.org/officeDocument/2006/relationships/tags" Target="../tags/tag748.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88.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6.png"/><Relationship Id="rId2" Type="http://schemas.openxmlformats.org/officeDocument/2006/relationships/tags" Target="../tags/tag750.xml"/><Relationship Id="rId1" Type="http://schemas.openxmlformats.org/officeDocument/2006/relationships/themeOverride" Target="../theme/themeOverride25.xml"/><Relationship Id="rId6" Type="http://schemas.openxmlformats.org/officeDocument/2006/relationships/image" Target="../media/image18.png"/><Relationship Id="rId5" Type="http://schemas.openxmlformats.org/officeDocument/2006/relationships/image" Target="../media/image57.emf"/><Relationship Id="rId4" Type="http://schemas.openxmlformats.org/officeDocument/2006/relationships/oleObject" Target="../embeddings/oleObject289.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1.xml"/><Relationship Id="rId1" Type="http://schemas.openxmlformats.org/officeDocument/2006/relationships/themeOverride" Target="../theme/themeOverride26.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290.bin"/></Relationships>
</file>

<file path=ppt/slideLayouts/_rels/slideLayout359.xml.rels><?xml version="1.0" encoding="UTF-8" standalone="yes"?>
<Relationships xmlns="http://schemas.openxmlformats.org/package/2006/relationships"><Relationship Id="rId3" Type="http://schemas.openxmlformats.org/officeDocument/2006/relationships/oleObject" Target="../embeddings/oleObject291.bin"/><Relationship Id="rId2" Type="http://schemas.openxmlformats.org/officeDocument/2006/relationships/slideMaster" Target="../slideMasters/slideMaster15.xml"/><Relationship Id="rId1" Type="http://schemas.openxmlformats.org/officeDocument/2006/relationships/tags" Target="../tags/tag752.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5.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292.bin"/><Relationship Id="rId2" Type="http://schemas.openxmlformats.org/officeDocument/2006/relationships/slideMaster" Target="../slideMasters/slideMaster15.xml"/><Relationship Id="rId1" Type="http://schemas.openxmlformats.org/officeDocument/2006/relationships/tags" Target="../tags/tag753.xml"/><Relationship Id="rId5" Type="http://schemas.openxmlformats.org/officeDocument/2006/relationships/image" Target="../media/image56.png"/><Relationship Id="rId4" Type="http://schemas.openxmlformats.org/officeDocument/2006/relationships/image" Target="../media/image57.emf"/></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293.bin"/><Relationship Id="rId2" Type="http://schemas.openxmlformats.org/officeDocument/2006/relationships/slideMaster" Target="../slideMasters/slideMaster15.xml"/><Relationship Id="rId1" Type="http://schemas.openxmlformats.org/officeDocument/2006/relationships/tags" Target="../tags/tag754.xml"/><Relationship Id="rId5" Type="http://schemas.openxmlformats.org/officeDocument/2006/relationships/image" Target="../media/image56.png"/><Relationship Id="rId4" Type="http://schemas.openxmlformats.org/officeDocument/2006/relationships/image" Target="../media/image25.emf"/></Relationships>
</file>

<file path=ppt/slideLayouts/_rels/slideLayout362.xml.rels><?xml version="1.0" encoding="UTF-8" standalone="yes"?>
<Relationships xmlns="http://schemas.openxmlformats.org/package/2006/relationships"><Relationship Id="rId3" Type="http://schemas.openxmlformats.org/officeDocument/2006/relationships/oleObject" Target="../embeddings/oleObject294.bin"/><Relationship Id="rId2" Type="http://schemas.openxmlformats.org/officeDocument/2006/relationships/slideMaster" Target="../slideMasters/slideMaster15.xml"/><Relationship Id="rId1" Type="http://schemas.openxmlformats.org/officeDocument/2006/relationships/tags" Target="../tags/tag755.xml"/><Relationship Id="rId4" Type="http://schemas.openxmlformats.org/officeDocument/2006/relationships/image" Target="../media/image57.emf"/></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757.xml"/><Relationship Id="rId7" Type="http://schemas.openxmlformats.org/officeDocument/2006/relationships/image" Target="../media/image58.png"/><Relationship Id="rId2" Type="http://schemas.openxmlformats.org/officeDocument/2006/relationships/tags" Target="../tags/tag756.xml"/><Relationship Id="rId1" Type="http://schemas.openxmlformats.org/officeDocument/2006/relationships/themeOverride" Target="../theme/themeOverride27.xml"/><Relationship Id="rId6" Type="http://schemas.openxmlformats.org/officeDocument/2006/relationships/image" Target="../media/image15.emf"/><Relationship Id="rId5" Type="http://schemas.openxmlformats.org/officeDocument/2006/relationships/oleObject" Target="../embeddings/oleObject295.bin"/><Relationship Id="rId4"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8.xml"/><Relationship Id="rId1" Type="http://schemas.openxmlformats.org/officeDocument/2006/relationships/themeOverride" Target="../theme/themeOverride28.xml"/><Relationship Id="rId6" Type="http://schemas.openxmlformats.org/officeDocument/2006/relationships/image" Target="../media/image58.png"/><Relationship Id="rId5" Type="http://schemas.openxmlformats.org/officeDocument/2006/relationships/image" Target="../media/image15.emf"/><Relationship Id="rId4" Type="http://schemas.openxmlformats.org/officeDocument/2006/relationships/oleObject" Target="../embeddings/oleObject296.bin"/></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9.xml"/><Relationship Id="rId1" Type="http://schemas.openxmlformats.org/officeDocument/2006/relationships/themeOverride" Target="../theme/themeOverride29.xml"/><Relationship Id="rId6" Type="http://schemas.openxmlformats.org/officeDocument/2006/relationships/image" Target="../media/image58.png"/><Relationship Id="rId5" Type="http://schemas.openxmlformats.org/officeDocument/2006/relationships/image" Target="../media/image15.emf"/><Relationship Id="rId4" Type="http://schemas.openxmlformats.org/officeDocument/2006/relationships/oleObject" Target="../embeddings/oleObject297.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60.xml"/><Relationship Id="rId1" Type="http://schemas.openxmlformats.org/officeDocument/2006/relationships/themeOverride" Target="../theme/themeOverride30.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298.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image" Target="../media/image56.png"/><Relationship Id="rId5" Type="http://schemas.openxmlformats.org/officeDocument/2006/relationships/image" Target="../media/image15.emf"/><Relationship Id="rId4" Type="http://schemas.openxmlformats.org/officeDocument/2006/relationships/oleObject" Target="../embeddings/oleObject299.bin"/></Relationships>
</file>

<file path=ppt/slideLayouts/_rels/slideLayout368.xml.rels><?xml version="1.0" encoding="UTF-8" standalone="yes"?>
<Relationships xmlns="http://schemas.openxmlformats.org/package/2006/relationships"><Relationship Id="rId3" Type="http://schemas.openxmlformats.org/officeDocument/2006/relationships/oleObject" Target="../embeddings/oleObject300.bin"/><Relationship Id="rId2" Type="http://schemas.openxmlformats.org/officeDocument/2006/relationships/slideMaster" Target="../slideMasters/slideMaster15.xml"/><Relationship Id="rId1" Type="http://schemas.openxmlformats.org/officeDocument/2006/relationships/tags" Target="../tags/tag763.xml"/><Relationship Id="rId5" Type="http://schemas.openxmlformats.org/officeDocument/2006/relationships/image" Target="../media/image56.png"/><Relationship Id="rId4" Type="http://schemas.openxmlformats.org/officeDocument/2006/relationships/image" Target="../media/image15.emf"/></Relationships>
</file>

<file path=ppt/slideLayouts/_rels/slideLayout369.xml.rels><?xml version="1.0" encoding="UTF-8" standalone="yes"?>
<Relationships xmlns="http://schemas.openxmlformats.org/package/2006/relationships"><Relationship Id="rId3" Type="http://schemas.openxmlformats.org/officeDocument/2006/relationships/oleObject" Target="../embeddings/oleObject301.bin"/><Relationship Id="rId2" Type="http://schemas.openxmlformats.org/officeDocument/2006/relationships/slideMaster" Target="../slideMasters/slideMaster15.xml"/><Relationship Id="rId1" Type="http://schemas.openxmlformats.org/officeDocument/2006/relationships/tags" Target="../tags/tag764.xml"/><Relationship Id="rId5" Type="http://schemas.openxmlformats.org/officeDocument/2006/relationships/image" Target="../media/image56.png"/><Relationship Id="rId4" Type="http://schemas.openxmlformats.org/officeDocument/2006/relationships/image" Target="../media/image15.emf"/></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8.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5.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5.xml"/><Relationship Id="rId7" Type="http://schemas.openxmlformats.org/officeDocument/2006/relationships/image" Target="../media/image58.png"/><Relationship Id="rId2" Type="http://schemas.openxmlformats.org/officeDocument/2006/relationships/tags" Target="../tags/tag765.xml"/><Relationship Id="rId1" Type="http://schemas.openxmlformats.org/officeDocument/2006/relationships/themeOverride" Target="../theme/themeOverride31.x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302.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56.png"/><Relationship Id="rId2" Type="http://schemas.openxmlformats.org/officeDocument/2006/relationships/tags" Target="../tags/tag766.xml"/><Relationship Id="rId1" Type="http://schemas.openxmlformats.org/officeDocument/2006/relationships/themeOverride" Target="../theme/themeOverride32.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303.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3.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5.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5.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5.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70.xml"/><Relationship Id="rId5" Type="http://schemas.openxmlformats.org/officeDocument/2006/relationships/image" Target="../media/image24.png"/><Relationship Id="rId4" Type="http://schemas.openxmlformats.org/officeDocument/2006/relationships/image" Target="../media/image20.emf"/></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5.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5.emf"/><Relationship Id="rId4" Type="http://schemas.openxmlformats.org/officeDocument/2006/relationships/oleObject" Target="../embeddings/oleObject3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5.emf"/><Relationship Id="rId4" Type="http://schemas.openxmlformats.org/officeDocument/2006/relationships/oleObject" Target="../embeddings/oleObject35.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3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5.emf"/><Relationship Id="rId4" Type="http://schemas.openxmlformats.org/officeDocument/2006/relationships/oleObject" Target="../embeddings/oleObject37.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38.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7.w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5.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5.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5.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5.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7.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5.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7.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5.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7.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5.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7.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5.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7.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5.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17.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5.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8.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20.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9.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15.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21.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5.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2.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5.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8.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5.emf"/><Relationship Id="rId5" Type="http://schemas.openxmlformats.org/officeDocument/2006/relationships/oleObject" Target="../embeddings/oleObject53.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23.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5.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18.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5.emf"/><Relationship Id="rId5" Type="http://schemas.openxmlformats.org/officeDocument/2006/relationships/oleObject" Target="../embeddings/oleObject55.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23.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5.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5.emf"/><Relationship Id="rId5" Type="http://schemas.openxmlformats.org/officeDocument/2006/relationships/oleObject" Target="../embeddings/oleObject57.bin"/><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5.emf"/><Relationship Id="rId5" Type="http://schemas.openxmlformats.org/officeDocument/2006/relationships/oleObject" Target="../embeddings/oleObject58.bin"/><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145.xml"/><Relationship Id="rId5" Type="http://schemas.openxmlformats.org/officeDocument/2006/relationships/image" Target="../media/image24.png"/><Relationship Id="rId4" Type="http://schemas.openxmlformats.org/officeDocument/2006/relationships/image" Target="../media/image2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5.emf"/><Relationship Id="rId5" Type="http://schemas.openxmlformats.org/officeDocument/2006/relationships/oleObject" Target="../embeddings/oleObject60.bin"/><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6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5.emf"/><Relationship Id="rId4" Type="http://schemas.openxmlformats.org/officeDocument/2006/relationships/oleObject" Target="../embeddings/oleObject62.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15.emf"/><Relationship Id="rId4" Type="http://schemas.openxmlformats.org/officeDocument/2006/relationships/oleObject" Target="../embeddings/oleObject6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5.emf"/><Relationship Id="rId4" Type="http://schemas.openxmlformats.org/officeDocument/2006/relationships/oleObject" Target="../embeddings/oleObject64.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4.xml"/><Relationship Id="rId7" Type="http://schemas.openxmlformats.org/officeDocument/2006/relationships/image" Target="../media/image7.w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6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15.emf"/><Relationship Id="rId4" Type="http://schemas.openxmlformats.org/officeDocument/2006/relationships/oleObject" Target="../embeddings/oleObject6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15.emf"/><Relationship Id="rId4" Type="http://schemas.openxmlformats.org/officeDocument/2006/relationships/oleObject" Target="../embeddings/oleObject67.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163.xml"/><Relationship Id="rId4" Type="http://schemas.openxmlformats.org/officeDocument/2006/relationships/image" Target="../media/image15.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5.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7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170.xml"/><Relationship Id="rId4" Type="http://schemas.openxmlformats.org/officeDocument/2006/relationships/image" Target="../media/image15.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15.emf"/><Relationship Id="rId4" Type="http://schemas.openxmlformats.org/officeDocument/2006/relationships/oleObject" Target="../embeddings/oleObject7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74.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4.xml"/><Relationship Id="rId1" Type="http://schemas.openxmlformats.org/officeDocument/2006/relationships/tags" Target="../tags/tag175.xml"/><Relationship Id="rId5" Type="http://schemas.openxmlformats.org/officeDocument/2006/relationships/image" Target="../media/image18.png"/><Relationship Id="rId4" Type="http://schemas.openxmlformats.org/officeDocument/2006/relationships/image" Target="../media/image15.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4.xml"/><Relationship Id="rId1" Type="http://schemas.openxmlformats.org/officeDocument/2006/relationships/tags" Target="../tags/tag176.xml"/><Relationship Id="rId6" Type="http://schemas.openxmlformats.org/officeDocument/2006/relationships/image" Target="../media/image8.emf"/><Relationship Id="rId5" Type="http://schemas.openxmlformats.org/officeDocument/2006/relationships/image" Target="../media/image7.wmf"/><Relationship Id="rId4" Type="http://schemas.openxmlformats.org/officeDocument/2006/relationships/image" Target="../media/image6.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177.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7.wmf"/><Relationship Id="rId4" Type="http://schemas.openxmlformats.org/officeDocument/2006/relationships/image" Target="../media/image9.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5.xml"/><Relationship Id="rId7" Type="http://schemas.openxmlformats.org/officeDocument/2006/relationships/image" Target="../media/image7.wmf"/><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28.jpeg"/><Relationship Id="rId5" Type="http://schemas.openxmlformats.org/officeDocument/2006/relationships/image" Target="../media/image15.emf"/><Relationship Id="rId4" Type="http://schemas.openxmlformats.org/officeDocument/2006/relationships/oleObject" Target="../embeddings/oleObject79.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7.w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15.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5.emf"/><Relationship Id="rId5" Type="http://schemas.openxmlformats.org/officeDocument/2006/relationships/oleObject" Target="../embeddings/oleObject81.bin"/><Relationship Id="rId4"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5.emf"/><Relationship Id="rId5" Type="http://schemas.openxmlformats.org/officeDocument/2006/relationships/oleObject" Target="../embeddings/oleObject82.bin"/><Relationship Id="rId4"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image" Target="../media/image15.emf"/><Relationship Id="rId4" Type="http://schemas.openxmlformats.org/officeDocument/2006/relationships/oleObject" Target="../embeddings/oleObject83.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29.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5.emf"/><Relationship Id="rId5" Type="http://schemas.openxmlformats.org/officeDocument/2006/relationships/oleObject" Target="../embeddings/oleObject84.bin"/><Relationship Id="rId4"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29.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5.emf"/><Relationship Id="rId5" Type="http://schemas.openxmlformats.org/officeDocument/2006/relationships/oleObject" Target="../embeddings/oleObject85.bin"/><Relationship Id="rId4"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29.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5.emf"/><Relationship Id="rId5" Type="http://schemas.openxmlformats.org/officeDocument/2006/relationships/oleObject" Target="../embeddings/oleObject86.bin"/><Relationship Id="rId4"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81250" name="Rectangle 2"/>
          <p:cNvSpPr>
            <a:spLocks noGrp="1" noChangeArrowheads="1"/>
          </p:cNvSpPr>
          <p:nvPr>
            <p:ph type="ctrTitle"/>
          </p:nvPr>
        </p:nvSpPr>
        <p:spPr>
          <a:xfrm>
            <a:off x="4286250" y="3598863"/>
            <a:ext cx="7421037" cy="514350"/>
          </a:xfrm>
        </p:spPr>
        <p:txBody>
          <a:bodyPr/>
          <a:lstStyle>
            <a:lvl1pPr>
              <a:defRPr sz="2400" b="0">
                <a:solidFill>
                  <a:schemeClr val="bg1"/>
                </a:solidFill>
                <a:latin typeface="Tahoma" pitchFamily="34" charset="0"/>
                <a:cs typeface="Tahoma" pitchFamily="34" charset="0"/>
              </a:defRPr>
            </a:lvl1pPr>
          </a:lstStyle>
          <a:p>
            <a:r>
              <a:rPr lang="en-US"/>
              <a:t>Click to edit Master title style</a:t>
            </a:r>
            <a:endParaRPr lang="en-GB"/>
          </a:p>
        </p:txBody>
      </p:sp>
      <p:sp>
        <p:nvSpPr>
          <p:cNvPr id="181251" name="Rectangle 3"/>
          <p:cNvSpPr>
            <a:spLocks noGrp="1" noChangeArrowheads="1"/>
          </p:cNvSpPr>
          <p:nvPr>
            <p:ph type="subTitle" idx="1"/>
          </p:nvPr>
        </p:nvSpPr>
        <p:spPr>
          <a:xfrm>
            <a:off x="4286250" y="4318000"/>
            <a:ext cx="7421039" cy="1421618"/>
          </a:xfrm>
        </p:spPr>
        <p:txBody>
          <a:bodyPr/>
          <a:lstStyle>
            <a:lvl1pPr marL="0" indent="0">
              <a:lnSpc>
                <a:spcPct val="90000"/>
              </a:lnSpc>
              <a:spcBef>
                <a:spcPts val="0"/>
              </a:spcBef>
              <a:spcAft>
                <a:spcPts val="0"/>
              </a:spcAft>
              <a:defRPr sz="3000" b="1">
                <a:solidFill>
                  <a:schemeClr val="bg1"/>
                </a:solidFill>
                <a:latin typeface="Tahoma" pitchFamily="34" charset="0"/>
                <a:cs typeface="Tahoma" pitchFamily="34" charset="0"/>
              </a:defRPr>
            </a:lvl1pPr>
          </a:lstStyle>
          <a:p>
            <a:r>
              <a:rPr lang="en-US"/>
              <a:t>Click to edit Master subtitle style</a:t>
            </a:r>
            <a:endParaRPr lang="en-GB"/>
          </a:p>
        </p:txBody>
      </p:sp>
      <p:sp>
        <p:nvSpPr>
          <p:cNvPr id="2" name="Slide Number Placeholder 1"/>
          <p:cNvSpPr>
            <a:spLocks noGrp="1"/>
          </p:cNvSpPr>
          <p:nvPr>
            <p:ph type="sldNum" sz="quarter" idx="10"/>
          </p:nvPr>
        </p:nvSpPr>
        <p:spPr>
          <a:xfrm>
            <a:off x="9108000" y="6480002"/>
            <a:ext cx="2556000" cy="365125"/>
          </a:xfrm>
        </p:spPr>
        <p:txBody>
          <a:bodyPr/>
          <a:lstStyle>
            <a:lvl1pPr>
              <a:defRPr>
                <a:solidFill>
                  <a:schemeClr val="bg1"/>
                </a:solidFill>
              </a:defRPr>
            </a:lvl1pPr>
          </a:lstStyle>
          <a:p>
            <a:fld id="{0580567E-5E8F-47A5-90DF-8BFEB1A71525}" type="slidenum">
              <a:rPr lang="en-GB" smtClean="0"/>
              <a:pPr/>
              <a:t>‹#›</a:t>
            </a:fld>
            <a:endParaRPr lang="en-GB"/>
          </a:p>
        </p:txBody>
      </p:sp>
      <p:grpSp>
        <p:nvGrpSpPr>
          <p:cNvPr id="4" name="Group 3">
            <a:extLst>
              <a:ext uri="{FF2B5EF4-FFF2-40B4-BE49-F238E27FC236}">
                <a16:creationId xmlns:a16="http://schemas.microsoft.com/office/drawing/2014/main" id="{929CD8F7-9314-4DE2-92F4-C894F7B87474}"/>
              </a:ext>
            </a:extLst>
          </p:cNvPr>
          <p:cNvGrpSpPr/>
          <p:nvPr userDrawn="1"/>
        </p:nvGrpSpPr>
        <p:grpSpPr>
          <a:xfrm>
            <a:off x="-11443" y="0"/>
            <a:ext cx="12192000" cy="6858000"/>
            <a:chOff x="-11443" y="0"/>
            <a:chExt cx="12192000" cy="6858000"/>
          </a:xfrm>
        </p:grpSpPr>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443" y="0"/>
              <a:ext cx="12192000" cy="6858000"/>
            </a:xfrm>
            <a:prstGeom prst="rect">
              <a:avLst/>
            </a:prstGeom>
            <a:noFill/>
          </p:spPr>
        </p:pic>
        <p:grpSp>
          <p:nvGrpSpPr>
            <p:cNvPr id="3" name="Group 2">
              <a:extLst>
                <a:ext uri="{FF2B5EF4-FFF2-40B4-BE49-F238E27FC236}">
                  <a16:creationId xmlns:a16="http://schemas.microsoft.com/office/drawing/2014/main" id="{B6CEC5C9-7948-45B8-B6FB-77B93E8F55B9}"/>
                </a:ext>
              </a:extLst>
            </p:cNvPr>
            <p:cNvGrpSpPr/>
            <p:nvPr userDrawn="1"/>
          </p:nvGrpSpPr>
          <p:grpSpPr>
            <a:xfrm>
              <a:off x="8684693" y="214160"/>
              <a:ext cx="3402613" cy="1613139"/>
              <a:chOff x="8684693" y="214160"/>
              <a:chExt cx="3402613" cy="1613139"/>
            </a:xfrm>
          </p:grpSpPr>
          <p:pic>
            <p:nvPicPr>
              <p:cNvPr id="12" name="Picture 11">
                <a:extLst>
                  <a:ext uri="{FF2B5EF4-FFF2-40B4-BE49-F238E27FC236}">
                    <a16:creationId xmlns:a16="http://schemas.microsoft.com/office/drawing/2014/main" id="{6DC94493-A0F5-46A4-9BA9-443201EF24D7}"/>
                  </a:ext>
                </a:extLst>
              </p:cNvPr>
              <p:cNvPicPr>
                <a:picLocks noChangeAspect="1"/>
              </p:cNvPicPr>
              <p:nvPr userDrawn="1"/>
            </p:nvPicPr>
            <p:blipFill>
              <a:blip r:embed="rId3"/>
              <a:stretch>
                <a:fillRect/>
              </a:stretch>
            </p:blipFill>
            <p:spPr>
              <a:xfrm>
                <a:off x="8684693" y="214160"/>
                <a:ext cx="3402613" cy="1613139"/>
              </a:xfrm>
              <a:prstGeom prst="rect">
                <a:avLst/>
              </a:prstGeom>
            </p:spPr>
          </p:pic>
          <p:pic>
            <p:nvPicPr>
              <p:cNvPr id="1029" name="Picture 2">
                <a:extLst>
                  <a:ext uri="{FF2B5EF4-FFF2-40B4-BE49-F238E27FC236}">
                    <a16:creationId xmlns:a16="http://schemas.microsoft.com/office/drawing/2014/main" id="{A1847620-1CF6-4457-B79C-1A1D3151F2BF}"/>
                  </a:ext>
                </a:extLst>
              </p:cNvPr>
              <p:cNvPicPr>
                <a:picLocks noChangeAspect="1" noChangeArrowheads="1"/>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9023230" y="450092"/>
                <a:ext cx="2501660" cy="1218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2788168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9" name="Rectangle 8"/>
          <p:cNvSpPr/>
          <p:nvPr/>
        </p:nvSpPr>
        <p:spPr>
          <a:xfrm>
            <a:off x="1949450" y="1855179"/>
            <a:ext cx="10242552" cy="1430862"/>
          </a:xfrm>
          <a:prstGeom prst="rect">
            <a:avLst/>
          </a:prstGeom>
          <a:solidFill>
            <a:srgbClr val="EEF1F2"/>
          </a:solidFill>
          <a:ln w="25400" cap="flat" cmpd="sng" algn="ctr">
            <a:noFill/>
            <a:prstDash val="solid"/>
          </a:ln>
          <a:effectLst/>
        </p:spPr>
        <p:txBody>
          <a:bodyPr rtlCol="0" anchor="ctr"/>
          <a:lstStyle/>
          <a:p>
            <a:pPr algn="ctr" defTabSz="457200">
              <a:defRPr/>
            </a:pPr>
            <a:endParaRPr lang="en-GB" kern="0">
              <a:solidFill>
                <a:prstClr val="black"/>
              </a:solidFill>
              <a:latin typeface="Franklin Gothic Book"/>
            </a:endParaRPr>
          </a:p>
        </p:txBody>
      </p:sp>
      <p:sp>
        <p:nvSpPr>
          <p:cNvPr id="2" name="Title 1"/>
          <p:cNvSpPr>
            <a:spLocks noGrp="1"/>
          </p:cNvSpPr>
          <p:nvPr>
            <p:ph type="title"/>
          </p:nvPr>
        </p:nvSpPr>
        <p:spPr>
          <a:xfrm>
            <a:off x="2575121" y="1855179"/>
            <a:ext cx="9649986" cy="1422762"/>
          </a:xfrm>
        </p:spPr>
        <p:txBody>
          <a:bodyPr lIns="216000"/>
          <a:lstStyle>
            <a:lvl1pPr>
              <a:defRPr sz="3050">
                <a:latin typeface="Franklin Gothic Medium"/>
                <a:cs typeface="Franklin Gothic Medium"/>
              </a:defRPr>
            </a:lvl1pPr>
          </a:lstStyle>
          <a:p>
            <a:r>
              <a:rPr lang="en-US"/>
              <a:t>Click to edit Master title style</a:t>
            </a:r>
          </a:p>
        </p:txBody>
      </p:sp>
      <p:sp>
        <p:nvSpPr>
          <p:cNvPr id="13" name="Rectangle 12"/>
          <p:cNvSpPr/>
          <p:nvPr/>
        </p:nvSpPr>
        <p:spPr>
          <a:xfrm>
            <a:off x="11319933" y="6629400"/>
            <a:ext cx="872067" cy="228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err="1">
              <a:solidFill>
                <a:srgbClr val="000000"/>
              </a:solidFill>
              <a:cs typeface="Arial" pitchFamily="34" charset="0"/>
            </a:endParaRPr>
          </a:p>
        </p:txBody>
      </p:sp>
      <p:pic>
        <p:nvPicPr>
          <p:cNvPr id="14"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06" y="1855179"/>
            <a:ext cx="2502415" cy="1422762"/>
          </a:xfrm>
          <a:prstGeom prst="rect">
            <a:avLst/>
          </a:prstGeom>
        </p:spPr>
      </p:pic>
    </p:spTree>
    <p:extLst>
      <p:ext uri="{BB962C8B-B14F-4D97-AF65-F5344CB8AC3E}">
        <p14:creationId xmlns:p14="http://schemas.microsoft.com/office/powerpoint/2010/main" val="37320066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38644904-661D-384F-B000-298975714685}" type="datetime1">
              <a:rPr lang="en-IN" smtClean="0">
                <a:solidFill>
                  <a:srgbClr val="FFFFFF">
                    <a:lumMod val="50000"/>
                  </a:srgbClr>
                </a:solidFill>
              </a:rPr>
              <a:pPr/>
              <a:t>14-03-2024</a:t>
            </a:fld>
            <a:endParaRPr lang="en-US">
              <a:solidFill>
                <a:srgbClr val="FFFFFF">
                  <a:lumMod val="50000"/>
                </a:srgbClr>
              </a:solidFill>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0" name="Picture Placeholder 18">
            <a:extLst>
              <a:ext uri="{FF2B5EF4-FFF2-40B4-BE49-F238E27FC236}">
                <a16:creationId xmlns:a16="http://schemas.microsoft.com/office/drawing/2014/main" id="{7F376F53-6679-3E49-90B8-5BCC92BD6357}"/>
              </a:ext>
            </a:extLst>
          </p:cNvPr>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850541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5547911B-7444-ED4E-AC45-82505C11EC52}" type="datetime1">
              <a:rPr lang="en-IN" smtClean="0">
                <a:solidFill>
                  <a:srgbClr val="FFFFFF">
                    <a:lumMod val="50000"/>
                  </a:srgbClr>
                </a:solidFill>
              </a:rPr>
              <a:pPr/>
              <a:t>14-03-2024</a:t>
            </a:fld>
            <a:endParaRPr lang="en-US">
              <a:solidFill>
                <a:srgbClr val="FFFFFF">
                  <a:lumMod val="50000"/>
                </a:srgbClr>
              </a:solidFill>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7" name="Picture Placeholder 5">
            <a:extLst>
              <a:ext uri="{FF2B5EF4-FFF2-40B4-BE49-F238E27FC236}">
                <a16:creationId xmlns:a16="http://schemas.microsoft.com/office/drawing/2014/main" id="{8211ABC6-3B83-7643-AB85-397BA03D89D9}"/>
              </a:ext>
            </a:extLst>
          </p:cNvPr>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2952883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4E83AAE-8693-AC43-BBE5-F950A2FA9AB1}" type="datetime1">
              <a:rPr lang="en-IN" smtClean="0">
                <a:solidFill>
                  <a:srgbClr val="FFFFFF"/>
                </a:solidFill>
              </a:rPr>
              <a:pPr/>
              <a:t>14-03-2024</a:t>
            </a:fld>
            <a:endParaRPr lang="en-US">
              <a:solidFill>
                <a:srgbClr val="FFFFFF"/>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09383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94A4E2DF-A56E-DE4B-8F8A-539C68BDED0F}" type="datetime1">
              <a:rPr lang="en-IN" smtClean="0">
                <a:solidFill>
                  <a:srgbClr val="FFFFFF">
                    <a:lumMod val="50000"/>
                  </a:srgbClr>
                </a:solidFill>
              </a:rPr>
              <a:pPr/>
              <a:t>14-03-2024</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54388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800">
              <a:solidFill>
                <a:srgbClr val="FFFFFF"/>
              </a:solidFill>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02B1C1E7-045F-E94A-8758-841C9CCB494F}" type="datetime1">
              <a:rPr lang="en-IN" smtClean="0">
                <a:solidFill>
                  <a:srgbClr val="FFFFFF"/>
                </a:solidFill>
              </a:rPr>
              <a:pPr/>
              <a:t>14-03-2024</a:t>
            </a:fld>
            <a:endParaRPr lang="en-US">
              <a:solidFill>
                <a:srgbClr val="FFFFFF"/>
              </a:solidFill>
            </a:endParaRP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439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0B8E9D58-E594-7D4D-95CD-7615E9B500E9}" type="datetime1">
              <a:rPr lang="en-IN" smtClean="0">
                <a:solidFill>
                  <a:srgbClr val="FFFFFF">
                    <a:lumMod val="50000"/>
                  </a:srgbClr>
                </a:solidFill>
              </a:rPr>
              <a:pPr/>
              <a:t>14-03-2024</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79673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9F768482-FEE2-C843-8572-CCE786943F10}" type="datetime1">
              <a:rPr lang="en-IN" smtClean="0">
                <a:solidFill>
                  <a:srgbClr val="FFFFFF"/>
                </a:solidFill>
              </a:rPr>
              <a:pPr/>
              <a:t>14-03-2024</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49234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032722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403DCA84-647E-5D48-8977-D2951DDB0889}" type="datetime1">
              <a:rPr lang="en-IN" smtClean="0">
                <a:solidFill>
                  <a:srgbClr val="FFFFFF">
                    <a:lumMod val="50000"/>
                  </a:srgbClr>
                </a:solidFill>
              </a:rPr>
              <a:pPr/>
              <a:t>14-03-2024</a:t>
            </a:fld>
            <a:endParaRPr lang="en-US">
              <a:solidFill>
                <a:srgbClr val="FFFFFF">
                  <a:lumMod val="50000"/>
                </a:srgbClr>
              </a:solidFill>
            </a:endParaRP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p:cNvSpPr>
            <a:spLocks noGrp="1"/>
          </p:cNvSpPr>
          <p:nvPr>
            <p:ph type="title"/>
          </p:nvPr>
        </p:nvSpPr>
        <p:spPr>
          <a:xfrm>
            <a:off x="630000" y="484301"/>
            <a:ext cx="4740576"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3820973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B2F6FEBF-E6DE-DB45-B34A-9C853A8BBABF}" type="datetime1">
              <a:rPr lang="en-IN" smtClean="0">
                <a:solidFill>
                  <a:srgbClr val="FFFFFF"/>
                </a:solidFill>
              </a:rPr>
              <a:pPr/>
              <a:t>14-03-2024</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69046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948666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5FC83343-38DD-B441-96F1-B5229EE9F4F7}" type="datetime1">
              <a:rPr lang="en-IN" smtClean="0">
                <a:solidFill>
                  <a:srgbClr val="FFFFFF">
                    <a:lumMod val="50000"/>
                  </a:srgbClr>
                </a:solidFill>
              </a:rPr>
              <a:pPr/>
              <a:t>14-03-2024</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p:cNvSpPr>
            <a:spLocks noGrp="1"/>
          </p:cNvSpPr>
          <p:nvPr>
            <p:ph type="title"/>
          </p:nvPr>
        </p:nvSpPr>
        <p:spPr>
          <a:xfrm>
            <a:off x="630000" y="484301"/>
            <a:ext cx="6953424"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476173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306691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ACFC87C5-BF74-8C42-AC8A-DE070537B5A8}" type="datetime1">
              <a:rPr lang="en-IN" smtClean="0">
                <a:solidFill>
                  <a:srgbClr val="FFFFFF"/>
                </a:solidFill>
              </a:rPr>
              <a:pPr/>
              <a:t>14-03-2024</a:t>
            </a:fld>
            <a:endParaRPr lang="en-US">
              <a:solidFill>
                <a:srgbClr val="FFFFFF"/>
              </a:solidFill>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3572701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961A546-5529-3C4D-90DF-E344259D87F8}" type="datetime1">
              <a:rPr lang="en-IN" smtClean="0">
                <a:solidFill>
                  <a:srgbClr val="FFFFFF">
                    <a:lumMod val="50000"/>
                  </a:srgbClr>
                </a:solidFill>
              </a:rPr>
              <a:pPr/>
              <a:t>14-03-2024</a:t>
            </a:fld>
            <a:endParaRPr lang="en-US">
              <a:solidFill>
                <a:srgbClr val="FFFFFF">
                  <a:lumMod val="50000"/>
                </a:srgbClr>
              </a:solidFill>
            </a:endParaRP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653950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mn-lt"/>
            </a:endParaRPr>
          </a:p>
        </p:txBody>
      </p:sp>
    </p:spTree>
    <p:extLst>
      <p:ext uri="{BB962C8B-B14F-4D97-AF65-F5344CB8AC3E}">
        <p14:creationId xmlns:p14="http://schemas.microsoft.com/office/powerpoint/2010/main" val="1919968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CDACC40C-9F93-4C46-9A1E-A20226BBFC15}" type="datetime1">
              <a:rPr lang="en-IN" smtClean="0">
                <a:solidFill>
                  <a:srgbClr val="FFFFFF"/>
                </a:solidFill>
              </a:rPr>
              <a:pPr/>
              <a:t>14-03-2024</a:t>
            </a:fld>
            <a:endParaRPr lang="en-US">
              <a:solidFill>
                <a:srgbClr val="FFFFFF"/>
              </a:solidFill>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7" name="Title 6"/>
          <p:cNvSpPr>
            <a:spLocks noGrp="1"/>
          </p:cNvSpPr>
          <p:nvPr>
            <p:ph type="title"/>
          </p:nvPr>
        </p:nvSpPr>
        <p:spPr>
          <a:xfrm>
            <a:off x="630000" y="484301"/>
            <a:ext cx="10933350" cy="941796"/>
          </a:xfrm>
        </p:spPr>
        <p:txBody>
          <a:bodyPr anchor="t"/>
          <a:lstStyle>
            <a:lvl1pPr>
              <a:defRPr sz="3400" b="0">
                <a:solidFill>
                  <a:srgbClr val="FFFFFF"/>
                </a:solidFill>
              </a:defRPr>
            </a:lvl1pPr>
          </a:lstStyle>
          <a:p>
            <a:r>
              <a:rPr lang="en-US"/>
              <a:t>Click to edit Master title style</a:t>
            </a:r>
          </a:p>
        </p:txBody>
      </p:sp>
    </p:spTree>
    <p:extLst>
      <p:ext uri="{BB962C8B-B14F-4D97-AF65-F5344CB8AC3E}">
        <p14:creationId xmlns:p14="http://schemas.microsoft.com/office/powerpoint/2010/main" val="1779120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D72668B9-976F-2942-89F6-3AEBCC9E0747}" type="datetime1">
              <a:rPr lang="en-IN" smtClean="0">
                <a:solidFill>
                  <a:srgbClr val="FFFFFF">
                    <a:lumMod val="50000"/>
                  </a:srgbClr>
                </a:solidFill>
              </a:rPr>
              <a:pPr/>
              <a:t>14-03-2024</a:t>
            </a:fld>
            <a:endParaRPr lang="en-US">
              <a:solidFill>
                <a:srgbClr val="FFFFFF">
                  <a:lumMod val="50000"/>
                </a:srgbClr>
              </a:solidFill>
            </a:endParaRP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1085389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E9006DB-079D-A04A-AA37-BDABF33C1F16}" type="datetime1">
              <a:rPr lang="en-IN" smtClean="0">
                <a:solidFill>
                  <a:srgbClr val="FFFFFF"/>
                </a:solidFill>
              </a:rPr>
              <a:pPr/>
              <a:t>14-03-2024</a:t>
            </a:fld>
            <a:endParaRPr lang="en-US">
              <a:solidFill>
                <a:srgbClr val="FFFFFF"/>
              </a:solidFill>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13974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5" y="1733505"/>
            <a:ext cx="6208776" cy="3185487"/>
          </a:xfrm>
          <a:prstGeom prst="rect">
            <a:avLst/>
          </a:prstGeom>
        </p:spPr>
        <p:txBody>
          <a:bodyPr wrap="square" lIns="0" tIns="0" rIns="0" bIns="0" anchor="ctr">
            <a:spAutoFit/>
          </a:bodyPr>
          <a:lstStyle/>
          <a:p>
            <a:r>
              <a:rPr lang="en-US" sz="900">
                <a:solidFill>
                  <a:srgbClr val="575757"/>
                </a:solidFill>
                <a:sym typeface="+mn-lt"/>
              </a:rPr>
              <a:t>The services and materials provided by Boston Consulting Group (BCG) are subject to BCG's Standard Terms </a:t>
            </a:r>
            <a:br>
              <a:rPr lang="en-US" sz="900">
                <a:solidFill>
                  <a:srgbClr val="575757"/>
                </a:solidFill>
                <a:sym typeface="+mn-lt"/>
              </a:rPr>
            </a:br>
            <a:r>
              <a:rPr lang="en-US" sz="900">
                <a:solidFill>
                  <a:srgbClr val="575757"/>
                </a:solidFill>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900">
                <a:solidFill>
                  <a:srgbClr val="575757"/>
                </a:solidFill>
                <a:sym typeface="+mn-lt"/>
              </a:rPr>
              <a:t> </a:t>
            </a:r>
          </a:p>
          <a:p>
            <a:r>
              <a:rPr lang="en-US" sz="900">
                <a:solidFill>
                  <a:srgbClr val="575757"/>
                </a:solidFill>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a:solidFill>
                <a:srgbClr val="575757"/>
              </a:solidFill>
              <a:sym typeface="+mn-lt"/>
            </a:endParaRPr>
          </a:p>
          <a:p>
            <a:pPr>
              <a:defRPr/>
            </a:pPr>
            <a:r>
              <a:rPr lang="en-US" sz="900">
                <a:solidFill>
                  <a:srgbClr val="575757"/>
                </a:solidFill>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rgbClr val="5A2259"/>
                </a:solidFill>
                <a:latin typeface="Arial"/>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A1101256-1542-204D-836D-2F4A0FCF751F}" type="datetime1">
              <a:rPr lang="en-IN" smtClean="0">
                <a:solidFill>
                  <a:srgbClr val="FFFFFF">
                    <a:lumMod val="50000"/>
                  </a:srgbClr>
                </a:solidFill>
              </a:rPr>
              <a:pPr/>
              <a:t>14-03-2024</a:t>
            </a:fld>
            <a:endParaRPr lang="en-US">
              <a:solidFill>
                <a:srgbClr val="FFFFFF">
                  <a:lumMod val="50000"/>
                </a:srgbClr>
              </a:solidFill>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86151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18"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9" name="Group 18"/>
          <p:cNvGrpSpPr/>
          <p:nvPr/>
        </p:nvGrpSpPr>
        <p:grpSpPr>
          <a:xfrm>
            <a:off x="5012098" y="292077"/>
            <a:ext cx="2127716" cy="2280707"/>
            <a:chOff x="5012098" y="292077"/>
            <a:chExt cx="2127716" cy="2280707"/>
          </a:xfrm>
        </p:grpSpPr>
        <p:pic>
          <p:nvPicPr>
            <p:cNvPr id="2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4127452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sym typeface="+mn-lt"/>
                </a:rPr>
                <a:t>1. xxxx  2. xxxx  3. List footnotes in numerical order. Footnote numbers are not bracketed. Use 10pt font</a:t>
              </a:r>
            </a:p>
            <a:p>
              <a:pPr>
                <a:lnSpc>
                  <a:spcPct val="90000"/>
                </a:lnSpc>
                <a:defRPr/>
              </a:pPr>
              <a:r>
                <a:rPr lang="en-US" sz="1000">
                  <a:solidFill>
                    <a:srgbClr val="FFFFFF">
                      <a:lumMod val="50000"/>
                    </a:srgbClr>
                  </a:solidFill>
                  <a:sym typeface="+mn-lt"/>
                </a:rPr>
                <a:t>Note: Do not put a period at the end of the note or the source</a:t>
              </a:r>
            </a:p>
            <a:p>
              <a:pPr>
                <a:lnSpc>
                  <a:spcPct val="90000"/>
                </a:lnSpc>
                <a:defRPr/>
              </a:pPr>
              <a:r>
                <a:rPr lang="en-US" sz="1000">
                  <a:solidFill>
                    <a:srgbClr val="FFFFFF">
                      <a:lumMod val="50000"/>
                    </a:srgbClr>
                  </a:solidFill>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3C88E4C7-93C7-0340-A555-90EDBC1F29D8}" type="datetime1">
              <a:rPr lang="en-IN" smtClean="0">
                <a:solidFill>
                  <a:srgbClr val="FFFFFF">
                    <a:lumMod val="50000"/>
                  </a:srgbClr>
                </a:solidFill>
              </a:rPr>
              <a:pPr/>
              <a:t>14-03-2024</a:t>
            </a:fld>
            <a:endParaRPr lang="en-US">
              <a:solidFill>
                <a:srgbClr val="FFFFFF">
                  <a:lumMod val="50000"/>
                </a:srgbClr>
              </a:solidFill>
            </a:endParaRP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362254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16"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7" name="Rectangle 16"/>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19"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29" name="Group 28"/>
          <p:cNvGrpSpPr/>
          <p:nvPr/>
        </p:nvGrpSpPr>
        <p:grpSpPr>
          <a:xfrm>
            <a:off x="5012098" y="292077"/>
            <a:ext cx="2127716" cy="2280707"/>
            <a:chOff x="5012098" y="292077"/>
            <a:chExt cx="2127716" cy="2280707"/>
          </a:xfrm>
        </p:grpSpPr>
        <p:pic>
          <p:nvPicPr>
            <p:cNvPr id="3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3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3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8624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1477" y="2303798"/>
            <a:ext cx="12190523"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39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5B2BD2CA-1D8F-2C4C-BE76-F2F65DF88CD0}" type="datetime1">
              <a:rPr lang="en-IN" smtClean="0">
                <a:solidFill>
                  <a:srgbClr val="FFFFFF">
                    <a:lumMod val="50000"/>
                  </a:srgbClr>
                </a:solidFill>
              </a:rPr>
              <a:pPr/>
              <a:t>14-03-2024</a:t>
            </a:fld>
            <a:endParaRPr lang="en-US">
              <a:solidFill>
                <a:srgbClr val="FFFFFF">
                  <a:lumMod val="50000"/>
                </a:srgbClr>
              </a:solidFill>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13"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4" name="Title 3"/>
          <p:cNvSpPr>
            <a:spLocks noGrp="1"/>
          </p:cNvSpPr>
          <p:nvPr>
            <p:ph type="title"/>
          </p:nvPr>
        </p:nvSpPr>
        <p:spPr>
          <a:xfrm>
            <a:off x="1672683" y="622800"/>
            <a:ext cx="9902282" cy="664797"/>
          </a:xfrm>
        </p:spPr>
        <p:txBody>
          <a:bodyPr anchor="t"/>
          <a:lstStyle/>
          <a:p>
            <a:r>
              <a:rPr lang="en-US"/>
              <a:t>Click to edit Master title style</a:t>
            </a:r>
          </a:p>
        </p:txBody>
      </p:sp>
    </p:spTree>
    <p:extLst>
      <p:ext uri="{BB962C8B-B14F-4D97-AF65-F5344CB8AC3E}">
        <p14:creationId xmlns:p14="http://schemas.microsoft.com/office/powerpoint/2010/main" val="154701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AFFCDBE4-75F5-8A44-8D74-831D42274632}" type="datetime1">
              <a:rPr lang="en-IN" smtClean="0">
                <a:solidFill>
                  <a:srgbClr val="FFFFFF">
                    <a:lumMod val="50000"/>
                  </a:srgbClr>
                </a:solidFill>
              </a:rPr>
              <a:pPr/>
              <a:t>14-03-2024</a:t>
            </a:fld>
            <a:endParaRPr lang="en-US">
              <a:solidFill>
                <a:srgbClr val="FFFFFF">
                  <a:lumMod val="50000"/>
                </a:srgbClr>
              </a:solidFill>
            </a:endParaRP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accent6"/>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679747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9AA71B7A-1D2E-1146-B958-DB6E0DE15F88}" type="datetime1">
              <a:rPr lang="en-IN" smtClean="0">
                <a:solidFill>
                  <a:srgbClr val="FFFFFF">
                    <a:lumMod val="50000"/>
                  </a:srgbClr>
                </a:solidFill>
              </a:rPr>
              <a:pPr/>
              <a:t>14-03-2024</a:t>
            </a:fld>
            <a:endParaRPr lang="en-US">
              <a:solidFill>
                <a:srgbClr val="FFFFFF">
                  <a:lumMod val="50000"/>
                </a:srgbClr>
              </a:solidFill>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501293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a:solidFill>
                <a:srgbClr val="FFFFFF"/>
              </a:solidFill>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E760AE9B-4C97-2344-B339-23B80A61E9DA}" type="datetime1">
              <a:rPr lang="en-IN" smtClean="0">
                <a:solidFill>
                  <a:srgbClr val="FFFFFF">
                    <a:lumMod val="50000"/>
                  </a:srgbClr>
                </a:solidFill>
              </a:rPr>
              <a:pPr/>
              <a:t>14-03-2024</a:t>
            </a:fld>
            <a:endParaRPr lang="en-US">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accent6"/>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555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43A3D3B9-B8DF-7C44-A3C1-1AD328DA6A78}" type="datetime1">
              <a:rPr lang="en-IN" smtClean="0">
                <a:solidFill>
                  <a:srgbClr val="FFFFFF"/>
                </a:solidFill>
              </a:rPr>
              <a:pPr/>
              <a:t>14-03-2024</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59238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635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5C77EEAB-F9A0-B24B-BEDC-CBE677B5A583}" type="datetime1">
              <a:rPr lang="en-IN" smtClean="0">
                <a:solidFill>
                  <a:srgbClr val="FFFFFF"/>
                </a:solidFill>
              </a:rPr>
              <a:pPr/>
              <a:t>14-03-2024</a:t>
            </a:fld>
            <a:endParaRPr lang="en-US">
              <a:solidFill>
                <a:srgbClr val="FFFFFF"/>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6" name="Title 5"/>
          <p:cNvSpPr>
            <a:spLocks noGrp="1"/>
          </p:cNvSpPr>
          <p:nvPr>
            <p:ph type="title"/>
          </p:nvPr>
        </p:nvSpPr>
        <p:spPr>
          <a:xfrm>
            <a:off x="630000" y="622800"/>
            <a:ext cx="6350663" cy="664797"/>
          </a:xfrm>
        </p:spPr>
        <p:txBody>
          <a:bodyPr anchor="t"/>
          <a:lstStyle/>
          <a:p>
            <a:r>
              <a:rPr lang="en-US"/>
              <a:t>Click to edit Master title style</a:t>
            </a:r>
          </a:p>
        </p:txBody>
      </p:sp>
    </p:spTree>
    <p:extLst>
      <p:ext uri="{BB962C8B-B14F-4D97-AF65-F5344CB8AC3E}">
        <p14:creationId xmlns:p14="http://schemas.microsoft.com/office/powerpoint/2010/main" val="1907933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52CE802-0CDE-4242-AA01-9CFE6677CCD9}" type="datetime1">
              <a:rPr lang="en-IN" smtClean="0">
                <a:solidFill>
                  <a:srgbClr val="FFFFFF"/>
                </a:solidFill>
              </a:rPr>
              <a:pPr/>
              <a:t>14-03-2024</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5" name="Title 4"/>
          <p:cNvSpPr>
            <a:spLocks noGrp="1"/>
          </p:cNvSpPr>
          <p:nvPr>
            <p:ph type="title"/>
          </p:nvPr>
        </p:nvSpPr>
        <p:spPr>
          <a:xfrm>
            <a:off x="630000" y="622800"/>
            <a:ext cx="8201766" cy="664797"/>
          </a:xfrm>
        </p:spPr>
        <p:txBody>
          <a:bodyPr anchor="t"/>
          <a:lstStyle/>
          <a:p>
            <a:r>
              <a:rPr lang="en-US"/>
              <a:t>Click to edit Master title style</a:t>
            </a:r>
          </a:p>
        </p:txBody>
      </p:sp>
    </p:spTree>
    <p:extLst>
      <p:ext uri="{BB962C8B-B14F-4D97-AF65-F5344CB8AC3E}">
        <p14:creationId xmlns:p14="http://schemas.microsoft.com/office/powerpoint/2010/main" val="3670117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235BD2A1-988A-E548-A425-16C5F1BE1156}" type="datetime1">
              <a:rPr lang="en-IN" smtClean="0">
                <a:solidFill>
                  <a:srgbClr val="FFFFFF">
                    <a:lumMod val="50000"/>
                  </a:srgbClr>
                </a:solidFill>
              </a:rPr>
              <a:pPr/>
              <a:t>14-03-2024</a:t>
            </a:fld>
            <a:endParaRPr lang="en-US">
              <a:solidFill>
                <a:srgbClr val="FFFFFF">
                  <a:lumMod val="50000"/>
                </a:srgbClr>
              </a:solidFill>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119546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9C3CEF22-58D6-3D4E-A315-F13D1F9535E2}" type="datetime1">
              <a:rPr lang="en-IN" smtClean="0">
                <a:solidFill>
                  <a:srgbClr val="FFFFFF">
                    <a:lumMod val="50000"/>
                  </a:srgbClr>
                </a:solidFill>
              </a:rPr>
              <a:pPr/>
              <a:t>14-03-2024</a:t>
            </a:fld>
            <a:endParaRPr lang="en-US">
              <a:solidFill>
                <a:srgbClr val="FFFFFF">
                  <a:lumMod val="50000"/>
                </a:srgbClr>
              </a:solidFill>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4187362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E4CC46BB-023A-0144-8991-4A2C249A570E}" type="datetime1">
              <a:rPr lang="en-IN" smtClean="0">
                <a:solidFill>
                  <a:srgbClr val="FFFFFF">
                    <a:lumMod val="50000"/>
                  </a:srgbClr>
                </a:solidFill>
              </a:rPr>
              <a:pPr/>
              <a:t>14-03-2024</a:t>
            </a:fld>
            <a:endParaRPr lang="en-US">
              <a:solidFill>
                <a:srgbClr val="FFFFFF">
                  <a:lumMod val="50000"/>
                </a:srgbClr>
              </a:solidFill>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800">
              <a:solidFill>
                <a:srgbClr val="FFFFFF">
                  <a:lumMod val="50000"/>
                </a:srgbClr>
              </a:solidFill>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536269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 Neutral">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6" name="Group 5"/>
          <p:cNvGrpSpPr/>
          <p:nvPr/>
        </p:nvGrpSpPr>
        <p:grpSpPr>
          <a:xfrm>
            <a:off x="0" y="3165688"/>
            <a:ext cx="12192000" cy="2829979"/>
            <a:chOff x="0" y="3165685"/>
            <a:chExt cx="9152145" cy="2829979"/>
          </a:xfrm>
        </p:grpSpPr>
        <p:sp>
          <p:nvSpPr>
            <p:cNvPr id="17" name="Rectangle 16"/>
            <p:cNvSpPr/>
            <p:nvPr/>
          </p:nvSpPr>
          <p:spPr>
            <a:xfrm>
              <a:off x="0" y="3165685"/>
              <a:ext cx="9152145" cy="2685979"/>
            </a:xfrm>
            <a:prstGeom prst="rect">
              <a:avLst/>
            </a:prstGeom>
            <a:solidFill>
              <a:srgbClr val="8C9EAB"/>
            </a:solidFill>
            <a:ln w="9525" cap="flat" cmpd="sng" algn="ctr">
              <a:noFill/>
              <a:prstDash val="solid"/>
            </a:ln>
            <a:effectLst/>
          </p:spPr>
          <p:txBody>
            <a:bodyPr rtlCol="0" anchor="ctr"/>
            <a:lstStyle/>
            <a:p>
              <a:pPr algn="ctr" defTabSz="457200">
                <a:defRPr/>
              </a:pPr>
              <a:endParaRPr lang="en-US" kern="0">
                <a:solidFill>
                  <a:prstClr val="white"/>
                </a:solidFill>
                <a:latin typeface="Franklin Gothic Book"/>
              </a:endParaRPr>
            </a:p>
          </p:txBody>
        </p:sp>
        <p:sp>
          <p:nvSpPr>
            <p:cNvPr id="18" name="Rectangle 17"/>
            <p:cNvSpPr/>
            <p:nvPr/>
          </p:nvSpPr>
          <p:spPr>
            <a:xfrm>
              <a:off x="0" y="5851664"/>
              <a:ext cx="9152144" cy="144000"/>
            </a:xfrm>
            <a:prstGeom prst="rect">
              <a:avLst/>
            </a:prstGeom>
            <a:solidFill>
              <a:srgbClr val="43ABB6"/>
            </a:solidFill>
            <a:ln w="9525" cap="flat" cmpd="sng" algn="ctr">
              <a:noFill/>
              <a:prstDash val="solid"/>
            </a:ln>
            <a:effectLst/>
          </p:spPr>
          <p:txBody>
            <a:bodyPr lIns="0" tIns="0" rIns="0" bIns="0" rtlCol="0" anchor="ctr"/>
            <a:lstStyle/>
            <a:p>
              <a:pPr algn="ctr" defTabSz="457200">
                <a:defRPr/>
              </a:pPr>
              <a:endParaRPr lang="en-US" kern="0">
                <a:solidFill>
                  <a:prstClr val="white"/>
                </a:solidFill>
                <a:latin typeface="Franklin Gothic Book"/>
              </a:endParaRPr>
            </a:p>
          </p:txBody>
        </p:sp>
      </p:grpSp>
      <p:grpSp>
        <p:nvGrpSpPr>
          <p:cNvPr id="2" name="Group 1"/>
          <p:cNvGrpSpPr/>
          <p:nvPr/>
        </p:nvGrpSpPr>
        <p:grpSpPr>
          <a:xfrm>
            <a:off x="4786638" y="441282"/>
            <a:ext cx="2618727" cy="2280707"/>
            <a:chOff x="3545247" y="441279"/>
            <a:chExt cx="2127716" cy="2280707"/>
          </a:xfrm>
        </p:grpSpPr>
        <p:pic>
          <p:nvPicPr>
            <p:cNvPr id="3"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45247" y="441279"/>
              <a:ext cx="2127716" cy="1209725"/>
            </a:xfrm>
            <a:prstGeom prst="rect">
              <a:avLst/>
            </a:prstGeom>
          </p:spPr>
        </p:pic>
        <p:pic>
          <p:nvPicPr>
            <p:cNvPr id="4"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06801" y="1773777"/>
              <a:ext cx="2057696" cy="948209"/>
            </a:xfrm>
            <a:prstGeom prst="rect">
              <a:avLst/>
            </a:prstGeom>
          </p:spPr>
        </p:pic>
      </p:grpSp>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8547959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9CBF7D5-1A82-0D46-BAA3-CCC5F0B79EF5}" type="datetime1">
              <a:rPr lang="en-IN" smtClean="0">
                <a:solidFill>
                  <a:srgbClr val="FFFFFF"/>
                </a:solidFill>
              </a:rPr>
              <a:pPr/>
              <a:t>14-03-2024</a:t>
            </a:fld>
            <a:endParaRPr lang="en-US">
              <a:solidFill>
                <a:srgbClr val="FFFFFF"/>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anchor="ctr" anchorCtr="0">
            <a:noAutofit/>
          </a:bodyPr>
          <a:lstStyle>
            <a:lvl1pPr>
              <a:defRPr>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590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E420EE26-C871-7148-ACB1-DE85CB34AE2F}" type="datetime1">
              <a:rPr lang="en-IN" smtClean="0">
                <a:solidFill>
                  <a:srgbClr val="FFFFFF">
                    <a:lumMod val="50000"/>
                  </a:srgbClr>
                </a:solidFill>
              </a:rPr>
              <a:pPr/>
              <a:t>14-03-2024</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62212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800">
              <a:solidFill>
                <a:srgbClr val="FFFFFF"/>
              </a:solidFill>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87B7225E-9A17-874B-938C-B2BB2DCA7F8A}" type="datetime1">
              <a:rPr lang="en-IN" smtClean="0">
                <a:solidFill>
                  <a:srgbClr val="FFFFFF"/>
                </a:solidFill>
              </a:rPr>
              <a:pPr/>
              <a:t>14-03-2024</a:t>
            </a:fld>
            <a:endParaRPr lang="en-US">
              <a:solidFill>
                <a:srgbClr val="FFFFFF"/>
              </a:solidFill>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507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7CCD6E5D-1C1D-A445-8508-D5F176012A91}" type="datetime1">
              <a:rPr lang="en-IN" smtClean="0">
                <a:solidFill>
                  <a:srgbClr val="FFFFFF">
                    <a:lumMod val="50000"/>
                  </a:srgbClr>
                </a:solidFill>
              </a:rPr>
              <a:pPr/>
              <a:t>14-03-2024</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36171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53BBE70B-691E-EB4E-A5AE-2E381BCF8608}" type="datetime1">
              <a:rPr lang="en-IN" smtClean="0">
                <a:solidFill>
                  <a:srgbClr val="FFFFFF"/>
                </a:solidFill>
              </a:rPr>
              <a:pPr/>
              <a:t>14-03-2024</a:t>
            </a:fld>
            <a:endParaRPr lang="en-US">
              <a:solidFill>
                <a:srgbClr val="FFFFFF"/>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4868592" cy="664797"/>
          </a:xfrm>
        </p:spPr>
        <p:txBody>
          <a:bodyPr anchor="t"/>
          <a:lstStyle/>
          <a:p>
            <a:r>
              <a:rPr lang="en-US"/>
              <a:t>Click to edit Master title style</a:t>
            </a:r>
          </a:p>
        </p:txBody>
      </p:sp>
    </p:spTree>
    <p:extLst>
      <p:ext uri="{BB962C8B-B14F-4D97-AF65-F5344CB8AC3E}">
        <p14:creationId xmlns:p14="http://schemas.microsoft.com/office/powerpoint/2010/main" val="2145155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DD147F9B-9080-1949-912A-10E5E1E4B68B}" type="datetime1">
              <a:rPr lang="en-IN" smtClean="0">
                <a:solidFill>
                  <a:srgbClr val="FFFFFF">
                    <a:lumMod val="50000"/>
                  </a:srgbClr>
                </a:solidFill>
              </a:rPr>
              <a:pPr/>
              <a:t>14-03-2024</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p:cNvSpPr>
            <a:spLocks noGrp="1"/>
          </p:cNvSpPr>
          <p:nvPr>
            <p:ph type="title"/>
          </p:nvPr>
        </p:nvSpPr>
        <p:spPr>
          <a:xfrm>
            <a:off x="630000" y="622800"/>
            <a:ext cx="491736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376207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E1269F4C-7722-6A48-84AC-EE8954E9882F}" type="datetime1">
              <a:rPr lang="en-IN" smtClean="0">
                <a:solidFill>
                  <a:srgbClr val="FFFFFF"/>
                </a:solidFill>
              </a:rPr>
              <a:pPr/>
              <a:t>14-03-2024</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6971712" cy="664797"/>
          </a:xfrm>
        </p:spPr>
        <p:txBody>
          <a:bodyPr anchor="t"/>
          <a:lstStyle/>
          <a:p>
            <a:r>
              <a:rPr lang="en-US"/>
              <a:t>Click to edit Master title style</a:t>
            </a:r>
          </a:p>
        </p:txBody>
      </p:sp>
    </p:spTree>
    <p:extLst>
      <p:ext uri="{BB962C8B-B14F-4D97-AF65-F5344CB8AC3E}">
        <p14:creationId xmlns:p14="http://schemas.microsoft.com/office/powerpoint/2010/main" val="391190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1350D20B-1886-C447-92AC-32211493A607}" type="datetime1">
              <a:rPr lang="en-IN" smtClean="0">
                <a:solidFill>
                  <a:srgbClr val="FFFFFF">
                    <a:lumMod val="50000"/>
                  </a:srgbClr>
                </a:solidFill>
              </a:rPr>
              <a:pPr/>
              <a:t>14-03-2024</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p:cNvSpPr>
            <a:spLocks noGrp="1"/>
          </p:cNvSpPr>
          <p:nvPr>
            <p:ph type="title"/>
          </p:nvPr>
        </p:nvSpPr>
        <p:spPr>
          <a:xfrm>
            <a:off x="630000" y="622800"/>
            <a:ext cx="7118016"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978495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69059247-A03D-6044-B147-0B7056458373}" type="datetime1">
              <a:rPr lang="en-IN" smtClean="0">
                <a:solidFill>
                  <a:srgbClr val="FFFFFF"/>
                </a:solidFill>
              </a:rPr>
              <a:pPr/>
              <a:t>14-03-2024</a:t>
            </a:fld>
            <a:endParaRPr lang="en-US">
              <a:solidFill>
                <a:srgbClr val="FFFFFF"/>
              </a:solidFill>
            </a:endParaRP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3878552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fld id="{2F0E7CC7-8D41-8E4D-BCC7-CC3BF322F075}" type="datetime1">
              <a:rPr lang="en-IN" smtClean="0">
                <a:solidFill>
                  <a:srgbClr val="FFFFFF">
                    <a:lumMod val="50000"/>
                  </a:srgbClr>
                </a:solidFill>
              </a:rPr>
              <a:pPr/>
              <a:t>14-03-2024</a:t>
            </a:fld>
            <a:endParaRPr lang="en-US">
              <a:solidFill>
                <a:srgbClr val="FFFFFF">
                  <a:lumMod val="50000"/>
                </a:srgbClr>
              </a:solidFill>
            </a:endParaRP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5A2259"/>
              </a:solidFill>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116723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82631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fld id="{E35986CD-1991-4D42-97E4-F26AD8B2E5E3}" type="datetime1">
              <a:rPr lang="en-IN" smtClean="0">
                <a:solidFill>
                  <a:srgbClr val="FFFFFF"/>
                </a:solidFill>
              </a:rPr>
              <a:pPr/>
              <a:t>14-03-2024</a:t>
            </a:fld>
            <a:endParaRPr lang="en-US">
              <a:solidFill>
                <a:srgbClr val="FFFFFF"/>
              </a:solidFill>
            </a:endParaRPr>
          </a:p>
        </p:txBody>
      </p:sp>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mn-lt"/>
            </a:endParaRPr>
          </a:p>
        </p:txBody>
      </p:sp>
    </p:spTree>
    <p:extLst>
      <p:ext uri="{BB962C8B-B14F-4D97-AF65-F5344CB8AC3E}">
        <p14:creationId xmlns:p14="http://schemas.microsoft.com/office/powerpoint/2010/main" val="32236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fld id="{CEDC7052-0EBB-8C4C-8B86-0FE8D6A0A9A3}" type="datetime1">
              <a:rPr lang="en-IN" smtClean="0">
                <a:solidFill>
                  <a:srgbClr val="FFFFFF"/>
                </a:solidFill>
              </a:rPr>
              <a:pPr/>
              <a:t>14-03-2024</a:t>
            </a:fld>
            <a:endParaRPr lang="en-US">
              <a:solidFill>
                <a:srgbClr val="FFFFFF"/>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7" name="Title 6"/>
          <p:cNvSpPr>
            <a:spLocks noGrp="1"/>
          </p:cNvSpPr>
          <p:nvPr>
            <p:ph type="title"/>
          </p:nvPr>
        </p:nvSpPr>
        <p:spPr>
          <a:xfrm>
            <a:off x="630000" y="622800"/>
            <a:ext cx="1093335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55979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a:lnSpc>
                <a:spcPct val="90000"/>
              </a:lnSpc>
            </a:pPr>
            <a:r>
              <a:rPr lang="en-US" sz="5400">
                <a:solidFill>
                  <a:srgbClr val="5A2259"/>
                </a:solidFill>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9CBFB080-EE99-A84C-A308-4FE6B485C3A3}" type="datetime1">
              <a:rPr lang="en-IN" smtClean="0">
                <a:solidFill>
                  <a:srgbClr val="FFFFFF"/>
                </a:solidFill>
              </a:rPr>
              <a:pPr/>
              <a:t>14-03-2024</a:t>
            </a:fld>
            <a:endParaRPr lang="en-US">
              <a:solidFill>
                <a:srgbClr val="FFFFFF"/>
              </a:solidFill>
            </a:endParaRP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385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4932DF8-8239-3246-BF71-FD443961F5B8}" type="datetime1">
              <a:rPr lang="en-IN" smtClean="0">
                <a:solidFill>
                  <a:srgbClr val="FFFFFF"/>
                </a:solidFill>
              </a:rPr>
              <a:pPr/>
              <a:t>14-03-2024</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2207360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fld id="{6F9DC07F-76C8-B74E-A58E-F3D669464FFE}" type="datetime1">
              <a:rPr lang="en-IN" smtClean="0">
                <a:solidFill>
                  <a:srgbClr val="FFFFFF">
                    <a:lumMod val="50000"/>
                  </a:srgbClr>
                </a:solidFill>
              </a:rPr>
              <a:pPr/>
              <a:t>14-03-2024</a:t>
            </a:fld>
            <a:endParaRPr lang="en-US">
              <a:solidFill>
                <a:srgbClr val="FFFFFF">
                  <a:lumMod val="50000"/>
                </a:srgbClr>
              </a:solidFill>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430667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733505"/>
            <a:ext cx="6208776" cy="3185487"/>
          </a:xfrm>
          <a:prstGeom prst="rect">
            <a:avLst/>
          </a:prstGeom>
        </p:spPr>
        <p:txBody>
          <a:bodyPr wrap="square" lIns="0" tIns="0" rIns="0" bIns="0" anchor="ctr">
            <a:spAutoFit/>
          </a:bodyPr>
          <a:lstStyle/>
          <a:p>
            <a:r>
              <a:rPr lang="en-US" sz="900">
                <a:solidFill>
                  <a:srgbClr val="575757"/>
                </a:solidFill>
                <a:sym typeface="+mn-lt"/>
              </a:rPr>
              <a:t>The services and materials provided by Boston Consulting Group (BCG) are subject to BCG's Standard Terms </a:t>
            </a:r>
            <a:br>
              <a:rPr lang="en-US" sz="900">
                <a:solidFill>
                  <a:srgbClr val="575757"/>
                </a:solidFill>
                <a:sym typeface="+mn-lt"/>
              </a:rPr>
            </a:br>
            <a:r>
              <a:rPr lang="en-US" sz="900">
                <a:solidFill>
                  <a:srgbClr val="575757"/>
                </a:solidFill>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900">
                <a:solidFill>
                  <a:srgbClr val="575757"/>
                </a:solidFill>
                <a:sym typeface="+mn-lt"/>
              </a:rPr>
              <a:t> </a:t>
            </a:r>
          </a:p>
          <a:p>
            <a:r>
              <a:rPr lang="en-US" sz="900">
                <a:solidFill>
                  <a:srgbClr val="575757"/>
                </a:solidFill>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a:solidFill>
                <a:srgbClr val="575757"/>
              </a:solidFill>
              <a:sym typeface="+mn-lt"/>
            </a:endParaRPr>
          </a:p>
          <a:p>
            <a:pPr>
              <a:defRPr/>
            </a:pPr>
            <a:r>
              <a:rPr lang="en-US" sz="900">
                <a:solidFill>
                  <a:srgbClr val="575757"/>
                </a:solidFill>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rgbClr val="5A2259"/>
                </a:solidFill>
                <a:latin typeface="Arial"/>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mn-lt"/>
              </a:defRPr>
            </a:lvl1pPr>
          </a:lstStyle>
          <a:p>
            <a:fld id="{20FC2500-531C-B547-8B45-071972EDC3C7}" type="datetime1">
              <a:rPr lang="en-IN" smtClean="0">
                <a:solidFill>
                  <a:srgbClr val="FFFFFF">
                    <a:lumMod val="50000"/>
                  </a:srgbClr>
                </a:solidFill>
              </a:rPr>
              <a:pPr/>
              <a:t>14-03-2024</a:t>
            </a:fld>
            <a:endParaRPr lang="en-US">
              <a:solidFill>
                <a:srgbClr val="FFFFFF">
                  <a:lumMod val="50000"/>
                </a:srgbClr>
              </a:solidFill>
            </a:endParaRPr>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25455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17"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8" name="Group 17"/>
          <p:cNvGrpSpPr/>
          <p:nvPr/>
        </p:nvGrpSpPr>
        <p:grpSpPr>
          <a:xfrm>
            <a:off x="5012098" y="292077"/>
            <a:ext cx="2127716" cy="2280707"/>
            <a:chOff x="5012098" y="292077"/>
            <a:chExt cx="2127716" cy="2280707"/>
          </a:xfrm>
        </p:grpSpPr>
        <p:pic>
          <p:nvPicPr>
            <p:cNvPr id="19"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0"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4281410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sym typeface="+mn-lt"/>
                </a:rPr>
                <a:t>1. xxxx  2. xxxx  3. List footnotes in numerical order. Footnote numbers are not bracketed. Use 10pt font</a:t>
              </a:r>
            </a:p>
            <a:p>
              <a:pPr>
                <a:lnSpc>
                  <a:spcPct val="90000"/>
                </a:lnSpc>
                <a:defRPr/>
              </a:pPr>
              <a:r>
                <a:rPr lang="en-US" sz="1000">
                  <a:solidFill>
                    <a:srgbClr val="FFFFFF">
                      <a:lumMod val="50000"/>
                    </a:srgbClr>
                  </a:solidFill>
                  <a:sym typeface="+mn-lt"/>
                </a:rPr>
                <a:t>Note: Do not put a period at the end of the note or the source</a:t>
              </a:r>
            </a:p>
            <a:p>
              <a:pPr>
                <a:lnSpc>
                  <a:spcPct val="90000"/>
                </a:lnSpc>
                <a:defRPr/>
              </a:pPr>
              <a:r>
                <a:rPr lang="en-US" sz="1000">
                  <a:solidFill>
                    <a:srgbClr val="FFFFFF">
                      <a:lumMod val="50000"/>
                    </a:srgbClr>
                  </a:solidFill>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2807B6B1-AD30-7947-8E50-C5ADBF6F1255}" type="datetime1">
              <a:rPr lang="en-IN" smtClean="0">
                <a:solidFill>
                  <a:srgbClr val="FFFFFF">
                    <a:lumMod val="50000"/>
                  </a:srgbClr>
                </a:solidFill>
              </a:rPr>
              <a:pPr/>
              <a:t>14-03-2024</a:t>
            </a:fld>
            <a:endParaRPr lang="en-US">
              <a:solidFill>
                <a:srgbClr val="FFFFFF">
                  <a:lumMod val="50000"/>
                </a:srgbClr>
              </a:solidFill>
            </a:endParaRP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3880502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sym typeface="+mn-lt"/>
            </a:endParaRPr>
          </a:p>
        </p:txBody>
      </p:sp>
      <p:sp>
        <p:nvSpPr>
          <p:cNvPr id="2" name="TextBox 1"/>
          <p:cNvSpPr txBox="1"/>
          <p:nvPr/>
        </p:nvSpPr>
        <p:spPr>
          <a:xfrm>
            <a:off x="630000" y="907199"/>
            <a:ext cx="3448800" cy="3609937"/>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rgbClr val="FFFFFF"/>
              </a:solidFill>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a:lnSpc>
                <a:spcPct val="95000"/>
              </a:lnSpc>
            </a:pPr>
            <a:r>
              <a:rPr lang="en-US" sz="5400">
                <a:solidFill>
                  <a:srgbClr val="FFFFFF"/>
                </a:solidFill>
                <a:sym typeface="+mn-lt"/>
              </a:rPr>
              <a:t>Agenda</a:t>
            </a:r>
          </a:p>
        </p:txBody>
      </p:sp>
    </p:spTree>
    <p:extLst>
      <p:ext uri="{BB962C8B-B14F-4D97-AF65-F5344CB8AC3E}">
        <p14:creationId xmlns:p14="http://schemas.microsoft.com/office/powerpoint/2010/main" val="396718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sym typeface="+mn-lt"/>
            </a:endParaRPr>
          </a:p>
        </p:txBody>
      </p:sp>
    </p:spTree>
    <p:extLst>
      <p:ext uri="{BB962C8B-B14F-4D97-AF65-F5344CB8AC3E}">
        <p14:creationId xmlns:p14="http://schemas.microsoft.com/office/powerpoint/2010/main" val="1145674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reserve="1">
  <p:cSld name="1_FIND - Cover corporate 1">
    <p:spTree>
      <p:nvGrpSpPr>
        <p:cNvPr id="1" name=""/>
        <p:cNvGrpSpPr/>
        <p:nvPr/>
      </p:nvGrpSpPr>
      <p:grpSpPr>
        <a:xfrm>
          <a:off x="0" y="0"/>
          <a:ext cx="0" cy="0"/>
          <a:chOff x="0" y="0"/>
          <a:chExt cx="0" cy="0"/>
        </a:xfrm>
      </p:grpSpPr>
      <p:sp>
        <p:nvSpPr>
          <p:cNvPr id="81" name="Slide Number"/>
          <p:cNvSpPr txBox="1">
            <a:spLocks noGrp="1"/>
          </p:cNvSpPr>
          <p:nvPr>
            <p:ph type="sldNum" sz="quarter" idx="2"/>
          </p:nvPr>
        </p:nvSpPr>
        <p:spPr>
          <a:xfrm>
            <a:off x="8458518" y="6221734"/>
            <a:ext cx="279085" cy="269237"/>
          </a:xfrm>
          <a:prstGeom prst="rect">
            <a:avLst/>
          </a:prstGeom>
        </p:spPr>
        <p:txBody>
          <a:bodyPr/>
          <a:lstStyle/>
          <a:p>
            <a:fld id="{86CB4B4D-7CA3-9044-876B-883B54F8677D}" type="slidenum">
              <a:rPr>
                <a:solidFill>
                  <a:srgbClr val="000000"/>
                </a:solidFill>
              </a:rPr>
              <a:pPr/>
              <a:t>‹#›</a:t>
            </a:fld>
            <a:endParaRPr>
              <a:solidFill>
                <a:srgbClr val="000000"/>
              </a:solidFill>
            </a:endParaRPr>
          </a:p>
        </p:txBody>
      </p:sp>
    </p:spTree>
    <p:extLst>
      <p:ext uri="{BB962C8B-B14F-4D97-AF65-F5344CB8AC3E}">
        <p14:creationId xmlns:p14="http://schemas.microsoft.com/office/powerpoint/2010/main" val="681460026"/>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0" name="Title 1"/>
          <p:cNvSpPr txBox="1">
            <a:spLocks/>
          </p:cNvSpPr>
          <p:nvPr/>
        </p:nvSpPr>
        <p:spPr>
          <a:xfrm>
            <a:off x="630000" y="719749"/>
            <a:ext cx="7189998" cy="47089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FFFFFF"/>
                </a:solidFill>
                <a:latin typeface="Arial"/>
                <a:sym typeface="+mn-lt"/>
              </a:rPr>
              <a:t>Agenda</a:t>
            </a:r>
          </a:p>
        </p:txBody>
      </p:sp>
      <p:cxnSp>
        <p:nvCxnSpPr>
          <p:cNvPr id="13" name="Straight Connector 12"/>
          <p:cNvCxnSpPr/>
          <p:nvPr/>
        </p:nvCxnSpPr>
        <p:spPr bwMode="white">
          <a:xfrm>
            <a:off x="618898" y="1299306"/>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303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rgbClr val="FFFFFF"/>
                </a:solidFill>
                <a:sym typeface="+mn-lt"/>
              </a:rPr>
              <a:t>Agenda</a:t>
            </a:r>
          </a:p>
        </p:txBody>
      </p:sp>
    </p:spTree>
    <p:extLst>
      <p:ext uri="{BB962C8B-B14F-4D97-AF65-F5344CB8AC3E}">
        <p14:creationId xmlns:p14="http://schemas.microsoft.com/office/powerpoint/2010/main" val="2582723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8" name="Rectangle 7"/>
          <p:cNvSpPr/>
          <p:nvPr/>
        </p:nvSpPr>
        <p:spPr bwMode="invGray">
          <a:xfrm>
            <a:off x="1388145" y="4691187"/>
            <a:ext cx="929337" cy="995874"/>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srgbClr val="43ABB6"/>
              </a:solidFill>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43ABB6"/>
              </a:solidFill>
              <a:sym typeface="+mn-lt"/>
            </a:endParaRPr>
          </a:p>
        </p:txBody>
      </p:sp>
      <p:sp>
        <p:nvSpPr>
          <p:cNvPr id="11" name="TextBox 10"/>
          <p:cNvSpPr txBox="1"/>
          <p:nvPr/>
        </p:nvSpPr>
        <p:spPr>
          <a:xfrm>
            <a:off x="630000" y="907198"/>
            <a:ext cx="3448800" cy="3609938"/>
          </a:xfrm>
          <a:prstGeom prst="rect">
            <a:avLst/>
          </a:prstGeom>
          <a:noFill/>
          <a:ln>
            <a:solidFill>
              <a:schemeClr val="accent6"/>
            </a:solidFill>
          </a:ln>
        </p:spPr>
        <p:txBody>
          <a:bodyPr wrap="square" lIns="612000" tIns="468000" rIns="0" bIns="0" rtlCol="0" anchor="t">
            <a:noAutofit/>
          </a:bodyPr>
          <a:lstStyle/>
          <a:p>
            <a:pPr>
              <a:lnSpc>
                <a:spcPct val="90000"/>
              </a:lnSpc>
              <a:spcAft>
                <a:spcPts val="600"/>
              </a:spcAft>
            </a:pPr>
            <a:endParaRPr lang="en-US" sz="5400">
              <a:solidFill>
                <a:srgbClr val="4C5B68"/>
              </a:solidFill>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5A2259"/>
                </a:solidFill>
                <a:latin typeface="Arial"/>
                <a:sym typeface="+mn-lt"/>
              </a:rPr>
              <a:t>Agenda</a:t>
            </a:r>
          </a:p>
        </p:txBody>
      </p:sp>
    </p:spTree>
    <p:extLst>
      <p:ext uri="{BB962C8B-B14F-4D97-AF65-F5344CB8AC3E}">
        <p14:creationId xmlns:p14="http://schemas.microsoft.com/office/powerpoint/2010/main" val="4018634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8" name="Rectangle 7"/>
          <p:cNvSpPr/>
          <p:nvPr/>
        </p:nvSpPr>
        <p:spPr bwMode="white">
          <a:xfrm>
            <a:off x="1284743" y="1428131"/>
            <a:ext cx="947672" cy="947672"/>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0" name="Rectangle 9"/>
          <p:cNvSpPr/>
          <p:nvPr/>
        </p:nvSpPr>
        <p:spPr>
          <a:xfrm>
            <a:off x="1285200" y="2667600"/>
            <a:ext cx="9619200" cy="3200400"/>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sym typeface="+mn-lt"/>
            </a:endParaRPr>
          </a:p>
        </p:txBody>
      </p:sp>
    </p:spTree>
    <p:extLst>
      <p:ext uri="{BB962C8B-B14F-4D97-AF65-F5344CB8AC3E}">
        <p14:creationId xmlns:p14="http://schemas.microsoft.com/office/powerpoint/2010/main" val="908492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7" name="Title 1"/>
          <p:cNvSpPr txBox="1">
            <a:spLocks/>
          </p:cNvSpPr>
          <p:nvPr/>
        </p:nvSpPr>
        <p:spPr>
          <a:xfrm>
            <a:off x="630000" y="622800"/>
            <a:ext cx="7189998" cy="664797"/>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a:solidFill>
                  <a:srgbClr val="5A2259"/>
                </a:solidFill>
                <a:latin typeface="Arial"/>
                <a:sym typeface="+mn-lt"/>
              </a:rPr>
              <a:t>Agenda</a:t>
            </a:r>
          </a:p>
        </p:txBody>
      </p:sp>
      <p:cxnSp>
        <p:nvCxnSpPr>
          <p:cNvPr id="8" name="Straight Connector 7"/>
          <p:cNvCxnSpPr/>
          <p:nvPr/>
        </p:nvCxnSpPr>
        <p:spPr bwMode="white">
          <a:xfrm>
            <a:off x="618898" y="1299306"/>
            <a:ext cx="11576304" cy="0"/>
          </a:xfrm>
          <a:prstGeom prst="line">
            <a:avLst/>
          </a:prstGeom>
          <a:ln w="9525" cap="flat" cmpd="sng" algn="ctr">
            <a:solidFill>
              <a:srgbClr val="5A225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906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lumMod val="50000"/>
                  </a:srgbClr>
                </a:solidFill>
                <a:sym typeface="+mn-lt"/>
              </a:rPr>
              <a:t>Copyright © 2020 by Boston Consulting Group, Inc. All rights reserved.</a:t>
            </a:r>
            <a:endParaRPr lang="en-US" sz="700">
              <a:solidFill>
                <a:srgbClr val="FFFFFF">
                  <a:lumMod val="50000"/>
                </a:srgbClr>
              </a:solidFill>
              <a:sym typeface="+mn-lt"/>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rgbClr val="FFFFFF"/>
                </a:solidFill>
                <a:sym typeface="+mn-lt"/>
              </a:rPr>
              <a:t>Agenda</a:t>
            </a:r>
          </a:p>
        </p:txBody>
      </p:sp>
    </p:spTree>
    <p:extLst>
      <p:ext uri="{BB962C8B-B14F-4D97-AF65-F5344CB8AC3E}">
        <p14:creationId xmlns:p14="http://schemas.microsoft.com/office/powerpoint/2010/main" val="40490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a:lnSpc>
                <a:spcPct val="90000"/>
              </a:lnSpc>
            </a:pPr>
            <a:r>
              <a:rPr lang="en-US" sz="5400">
                <a:solidFill>
                  <a:srgbClr val="5A2259"/>
                </a:solidFill>
                <a:sym typeface="+mn-lt"/>
              </a:rPr>
              <a:t>Table of contents</a:t>
            </a: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rgbClr val="FFFFFF"/>
                </a:solidFill>
                <a:sym typeface="+mn-lt"/>
              </a:rPr>
              <a:t>Copyright © 2020 by Boston Consulting Group, Inc. All rights reserved.</a:t>
            </a:r>
            <a:endParaRPr lang="en-US" sz="700">
              <a:solidFill>
                <a:srgbClr val="FFFFFF"/>
              </a:solidFill>
              <a:sym typeface="+mn-lt"/>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2523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Title Slide - Ma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latin typeface="Franklin Gothic Medium"/>
                <a:cs typeface="Franklin Gothic Medium"/>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latin typeface="Franklin Gothic Medium"/>
                <a:cs typeface="Franklin Gothic Medium"/>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pic>
        <p:nvPicPr>
          <p:cNvPr id="9"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0"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spTree>
    <p:extLst>
      <p:ext uri="{BB962C8B-B14F-4D97-AF65-F5344CB8AC3E}">
        <p14:creationId xmlns:p14="http://schemas.microsoft.com/office/powerpoint/2010/main" val="9176476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5" name="Rectangle 4"/>
          <p:cNvSpPr/>
          <p:nvPr/>
        </p:nvSpPr>
        <p:spPr>
          <a:xfrm>
            <a:off x="1187451" y="191736"/>
            <a:ext cx="11004552" cy="790065"/>
          </a:xfrm>
          <a:prstGeom prst="rect">
            <a:avLst/>
          </a:prstGeom>
          <a:solidFill>
            <a:srgbClr val="EEF1F2"/>
          </a:solidFill>
          <a:ln w="25400" cap="flat" cmpd="sng" algn="ctr">
            <a:noFill/>
            <a:prstDash val="solid"/>
          </a:ln>
          <a:effectLst/>
        </p:spPr>
        <p:txBody>
          <a:bodyPr rtlCol="0" anchor="ctr"/>
          <a:lstStyle/>
          <a:p>
            <a:pPr algn="ctr" defTabSz="457200">
              <a:defRPr/>
            </a:pPr>
            <a:endParaRPr lang="en-US" sz="1800" kern="0">
              <a:solidFill>
                <a:prstClr val="black"/>
              </a:solidFill>
              <a:latin typeface="Franklin Gothic Book"/>
            </a:endParaRPr>
          </a:p>
        </p:txBody>
      </p:sp>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p:ph type="title"/>
          </p:nvPr>
        </p:nvSpPr>
        <p:spPr>
          <a:xfrm>
            <a:off x="1472236" y="161925"/>
            <a:ext cx="10159013" cy="831850"/>
          </a:xfrm>
        </p:spPr>
        <p:txBody>
          <a:bodyPr lIns="216000"/>
          <a:lstStyle/>
          <a:p>
            <a:r>
              <a:rPr lang="en-US"/>
              <a:t>Click to edit Master title style</a:t>
            </a:r>
          </a:p>
        </p:txBody>
      </p:sp>
      <p:sp>
        <p:nvSpPr>
          <p:cNvPr id="3" name="Text Placeholder 7"/>
          <p:cNvSpPr>
            <a:spLocks noGrp="1"/>
          </p:cNvSpPr>
          <p:nvPr>
            <p:ph type="body" sz="quarter" idx="13"/>
          </p:nvPr>
        </p:nvSpPr>
        <p:spPr>
          <a:xfrm>
            <a:off x="562707" y="1508400"/>
            <a:ext cx="11068063" cy="4590000"/>
          </a:xfrm>
          <a:prstGeom prst="rect">
            <a:avLst/>
          </a:prstGeom>
        </p:spPr>
        <p:txBody>
          <a:bodyPr lIns="0" tIns="0" rIns="0" bIns="0"/>
          <a:lstStyle>
            <a:lvl1pPr marL="172800" indent="-172800">
              <a:spcBef>
                <a:spcPts val="384"/>
              </a:spcBef>
              <a:buClr>
                <a:schemeClr val="tx2"/>
              </a:buClr>
              <a:buFont typeface="Wingdings" panose="05000000000000000000" pitchFamily="2" charset="2"/>
              <a:buChar char="n"/>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577" y="191738"/>
            <a:ext cx="1410659" cy="802038"/>
          </a:xfrm>
          <a:prstGeom prst="rect">
            <a:avLst/>
          </a:prstGeom>
        </p:spPr>
      </p:pic>
    </p:spTree>
    <p:extLst>
      <p:ext uri="{BB962C8B-B14F-4D97-AF65-F5344CB8AC3E}">
        <p14:creationId xmlns:p14="http://schemas.microsoft.com/office/powerpoint/2010/main" val="335552113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9" name="Rectangle 8"/>
          <p:cNvSpPr/>
          <p:nvPr/>
        </p:nvSpPr>
        <p:spPr>
          <a:xfrm>
            <a:off x="1949450" y="1855179"/>
            <a:ext cx="10242552" cy="1430862"/>
          </a:xfrm>
          <a:prstGeom prst="rect">
            <a:avLst/>
          </a:prstGeom>
          <a:solidFill>
            <a:srgbClr val="EEF1F2"/>
          </a:solidFill>
          <a:ln w="25400" cap="flat" cmpd="sng" algn="ctr">
            <a:noFill/>
            <a:prstDash val="solid"/>
          </a:ln>
          <a:effectLst/>
        </p:spPr>
        <p:txBody>
          <a:bodyPr rtlCol="0" anchor="ctr"/>
          <a:lstStyle/>
          <a:p>
            <a:pPr algn="ctr" defTabSz="457200">
              <a:defRPr/>
            </a:pPr>
            <a:endParaRPr lang="en-GB" kern="0">
              <a:solidFill>
                <a:prstClr val="black"/>
              </a:solidFill>
              <a:latin typeface="Franklin Gothic Book"/>
            </a:endParaRPr>
          </a:p>
        </p:txBody>
      </p:sp>
      <p:sp>
        <p:nvSpPr>
          <p:cNvPr id="2" name="Title 1"/>
          <p:cNvSpPr>
            <a:spLocks noGrp="1"/>
          </p:cNvSpPr>
          <p:nvPr>
            <p:ph type="title"/>
          </p:nvPr>
        </p:nvSpPr>
        <p:spPr>
          <a:xfrm>
            <a:off x="2575121" y="1855179"/>
            <a:ext cx="9649986" cy="1422762"/>
          </a:xfrm>
        </p:spPr>
        <p:txBody>
          <a:bodyPr lIns="216000"/>
          <a:lstStyle>
            <a:lvl1pPr>
              <a:defRPr sz="3050">
                <a:latin typeface="Franklin Gothic Medium"/>
                <a:cs typeface="Franklin Gothic Medium"/>
              </a:defRPr>
            </a:lvl1pPr>
          </a:lstStyle>
          <a:p>
            <a:r>
              <a:rPr lang="en-US"/>
              <a:t>Click to edit Master title style</a:t>
            </a:r>
          </a:p>
        </p:txBody>
      </p:sp>
      <p:sp>
        <p:nvSpPr>
          <p:cNvPr id="13" name="Rectangle 12"/>
          <p:cNvSpPr/>
          <p:nvPr/>
        </p:nvSpPr>
        <p:spPr>
          <a:xfrm>
            <a:off x="11319933" y="6629400"/>
            <a:ext cx="872067" cy="228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err="1">
              <a:solidFill>
                <a:srgbClr val="000000"/>
              </a:solidFill>
              <a:cs typeface="Arial" pitchFamily="34" charset="0"/>
            </a:endParaRPr>
          </a:p>
        </p:txBody>
      </p:sp>
      <p:pic>
        <p:nvPicPr>
          <p:cNvPr id="14"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06" y="1855179"/>
            <a:ext cx="2502415" cy="1422762"/>
          </a:xfrm>
          <a:prstGeom prst="rect">
            <a:avLst/>
          </a:prstGeom>
        </p:spPr>
      </p:pic>
    </p:spTree>
    <p:extLst>
      <p:ext uri="{BB962C8B-B14F-4D97-AF65-F5344CB8AC3E}">
        <p14:creationId xmlns:p14="http://schemas.microsoft.com/office/powerpoint/2010/main" val="1022529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585216"/>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6287715"/>
            <a:ext cx="12192000" cy="585216"/>
          </a:xfrm>
          <a:prstGeom prst="rect">
            <a:avLst/>
          </a:prstGeom>
        </p:spPr>
      </p:pic>
      <p:pic>
        <p:nvPicPr>
          <p:cNvPr id="12" name="Pictur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75864" y="133265"/>
            <a:ext cx="2430272" cy="338328"/>
          </a:xfrm>
          <a:prstGeom prst="rect">
            <a:avLst/>
          </a:prstGeom>
        </p:spPr>
      </p:pic>
      <p:sp>
        <p:nvSpPr>
          <p:cNvPr id="16" name="Subtitle 2"/>
          <p:cNvSpPr>
            <a:spLocks noGrp="1"/>
          </p:cNvSpPr>
          <p:nvPr>
            <p:ph type="subTitle" idx="13" hasCustomPrompt="1"/>
          </p:nvPr>
        </p:nvSpPr>
        <p:spPr>
          <a:xfrm>
            <a:off x="154810" y="452742"/>
            <a:ext cx="8110084" cy="333645"/>
          </a:xfrm>
          <a:prstGeom prst="rect">
            <a:avLst/>
          </a:prstGeom>
        </p:spPr>
        <p:txBody>
          <a:bodyPr anchor="t">
            <a:noAutofit/>
          </a:bodyPr>
          <a:lstStyle>
            <a:lvl1pPr marL="0" indent="0" algn="l">
              <a:buNone/>
              <a:defRPr sz="2200" b="1" i="0" baseline="0">
                <a:solidFill>
                  <a:srgbClr val="333333"/>
                </a:solidFill>
                <a:latin typeface="Helvetica" charset="0"/>
                <a:ea typeface="Helvetica" charset="0"/>
                <a:cs typeface="Helvetic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lide Title goes here</a:t>
            </a:r>
          </a:p>
        </p:txBody>
      </p:sp>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7404" y="6558616"/>
            <a:ext cx="906225" cy="242739"/>
          </a:xfrm>
          <a:prstGeom prst="rect">
            <a:avLst/>
          </a:prstGeom>
        </p:spPr>
      </p:pic>
      <p:pic>
        <p:nvPicPr>
          <p:cNvPr id="11"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38533" y="6582032"/>
            <a:ext cx="263123" cy="205236"/>
          </a:xfrm>
          <a:prstGeom prst="rect">
            <a:avLst/>
          </a:prstGeom>
        </p:spPr>
      </p:pic>
      <p:sp>
        <p:nvSpPr>
          <p:cNvPr id="19" name="TextBox 18"/>
          <p:cNvSpPr txBox="1"/>
          <p:nvPr/>
        </p:nvSpPr>
        <p:spPr>
          <a:xfrm>
            <a:off x="10016217" y="6562658"/>
            <a:ext cx="1696824" cy="246221"/>
          </a:xfrm>
          <a:prstGeom prst="rect">
            <a:avLst/>
          </a:prstGeom>
          <a:noFill/>
        </p:spPr>
        <p:txBody>
          <a:bodyPr wrap="square" rtlCol="0" anchor="b">
            <a:spAutoFit/>
          </a:bodyPr>
          <a:lstStyle/>
          <a:p>
            <a:pPr algn="r"/>
            <a:r>
              <a:rPr lang="en-US" sz="1000" err="1">
                <a:solidFill>
                  <a:prstClr val="white"/>
                </a:solidFill>
                <a:latin typeface="Helvetica" charset="0"/>
                <a:ea typeface="Helvetica" charset="0"/>
                <a:cs typeface="Helvetica" charset="0"/>
              </a:rPr>
              <a:t>www.stoptb.org</a:t>
            </a:r>
            <a:endParaRPr lang="en-US" sz="1000">
              <a:solidFill>
                <a:prstClr val="white"/>
              </a:solidFill>
              <a:latin typeface="Helvetica" charset="0"/>
              <a:ea typeface="Helvetica" charset="0"/>
              <a:cs typeface="Helvetica" charset="0"/>
            </a:endParaRPr>
          </a:p>
        </p:txBody>
      </p:sp>
      <p:sp>
        <p:nvSpPr>
          <p:cNvPr id="20" name="Slide Number Placeholder 5"/>
          <p:cNvSpPr>
            <a:spLocks noGrp="1"/>
          </p:cNvSpPr>
          <p:nvPr>
            <p:ph type="sldNum" sz="quarter" idx="4"/>
          </p:nvPr>
        </p:nvSpPr>
        <p:spPr>
          <a:xfrm>
            <a:off x="11825217" y="6592482"/>
            <a:ext cx="375417" cy="201436"/>
          </a:xfrm>
          <a:prstGeom prst="rect">
            <a:avLst/>
          </a:prstGeom>
        </p:spPr>
        <p:txBody>
          <a:bodyPr vert="horz" lIns="0" tIns="45720" rIns="91440" bIns="45720" rtlCol="0" anchor="ctr"/>
          <a:lstStyle>
            <a:lvl1pPr algn="l">
              <a:defRPr sz="900">
                <a:solidFill>
                  <a:schemeClr val="bg1">
                    <a:alpha val="50000"/>
                  </a:schemeClr>
                </a:solidFill>
                <a:latin typeface="Helvetica" charset="0"/>
                <a:ea typeface="Helvetica" charset="0"/>
                <a:cs typeface="Helvetica" charset="0"/>
              </a:defRPr>
            </a:lvl1pPr>
          </a:lstStyle>
          <a:p>
            <a:fld id="{45E982CA-F8C8-E841-8CFA-638B604AB2A4}" type="slidenum">
              <a:rPr lang="en-US" smtClean="0">
                <a:solidFill>
                  <a:prstClr val="white">
                    <a:alpha val="50000"/>
                  </a:prstClr>
                </a:solidFill>
              </a:rPr>
              <a:pPr/>
              <a:t>‹#›</a:t>
            </a:fld>
            <a:endParaRPr lang="en-US">
              <a:solidFill>
                <a:prstClr val="white">
                  <a:alpha val="50000"/>
                </a:prstClr>
              </a:solidFill>
            </a:endParaRPr>
          </a:p>
        </p:txBody>
      </p:sp>
      <p:sp>
        <p:nvSpPr>
          <p:cNvPr id="21" name="Oval 20"/>
          <p:cNvSpPr/>
          <p:nvPr/>
        </p:nvSpPr>
        <p:spPr>
          <a:xfrm>
            <a:off x="11673395" y="6672548"/>
            <a:ext cx="82469" cy="61852"/>
          </a:xfrm>
          <a:prstGeom prst="ellipse">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045147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33246-591F-47EF-A447-F2870F682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24DA1A-2C70-412E-9356-94E1005F06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1A5F56-CA45-4E1D-907B-334A8266496B}"/>
              </a:ext>
            </a:extLst>
          </p:cNvPr>
          <p:cNvSpPr>
            <a:spLocks noGrp="1"/>
          </p:cNvSpPr>
          <p:nvPr>
            <p:ph type="dt" sz="half" idx="10"/>
          </p:nvPr>
        </p:nvSpPr>
        <p:spPr/>
        <p:txBody>
          <a:bodyPr/>
          <a:lstStyle/>
          <a:p>
            <a:fld id="{F7C32F24-8062-4E40-8E62-B6AE5565B2DD}" type="datetimeFigureOut">
              <a:rPr lang="en-US" smtClean="0"/>
              <a:t>3/14/2024</a:t>
            </a:fld>
            <a:endParaRPr lang="en-US"/>
          </a:p>
        </p:txBody>
      </p:sp>
      <p:sp>
        <p:nvSpPr>
          <p:cNvPr id="5" name="Footer Placeholder 4">
            <a:extLst>
              <a:ext uri="{FF2B5EF4-FFF2-40B4-BE49-F238E27FC236}">
                <a16:creationId xmlns:a16="http://schemas.microsoft.com/office/drawing/2014/main" id="{B4B10AD3-06AA-4BBF-9669-A5080494F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AE318-F73E-42C1-BC6F-D08DFE22F257}"/>
              </a:ext>
            </a:extLst>
          </p:cNvPr>
          <p:cNvSpPr>
            <a:spLocks noGrp="1"/>
          </p:cNvSpPr>
          <p:nvPr>
            <p:ph type="sldNum" sz="quarter" idx="12"/>
          </p:nvPr>
        </p:nvSpPr>
        <p:spPr/>
        <p:txBody>
          <a:bodyPr/>
          <a:lstStyle/>
          <a:p>
            <a:fld id="{967FD74F-803C-4557-9630-5CAE2CFBFEA0}" type="slidenum">
              <a:rPr lang="en-US" smtClean="0"/>
              <a:t>‹#›</a:t>
            </a:fld>
            <a:endParaRPr lang="en-US"/>
          </a:p>
        </p:txBody>
      </p:sp>
    </p:spTree>
    <p:extLst>
      <p:ext uri="{BB962C8B-B14F-4D97-AF65-F5344CB8AC3E}">
        <p14:creationId xmlns:p14="http://schemas.microsoft.com/office/powerpoint/2010/main" val="193081908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cSld name="Title Slide - Neutral">
    <p:spTree>
      <p:nvGrpSpPr>
        <p:cNvPr id="1" name=""/>
        <p:cNvGrpSpPr/>
        <p:nvPr/>
      </p:nvGrpSpPr>
      <p:grpSpPr>
        <a:xfrm>
          <a:off x="0" y="0"/>
          <a:ext cx="0" cy="0"/>
          <a:chOff x="0" y="0"/>
          <a:chExt cx="0" cy="0"/>
        </a:xfrm>
      </p:grpSpPr>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155008704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lgn="l">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3"/>
          <p:cNvSpPr txBox="1"/>
          <p:nvPr userDrawn="1"/>
        </p:nvSpPr>
        <p:spPr>
          <a:xfrm>
            <a:off x="8348245" y="154420"/>
            <a:ext cx="3674128" cy="35086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8" tIns="45718" rIns="45718" bIns="45718">
            <a:spAutoFit/>
          </a:bodyPr>
          <a:lstStyle>
            <a:lvl1pPr algn="ctr">
              <a:lnSpc>
                <a:spcPct val="120000"/>
              </a:lnSpc>
              <a:spcBef>
                <a:spcPts val="600"/>
              </a:spcBef>
              <a:defRPr sz="4400" b="1">
                <a:solidFill>
                  <a:srgbClr val="FFFFFF"/>
                </a:solidFill>
                <a:latin typeface="Arial"/>
                <a:ea typeface="Arial"/>
                <a:cs typeface="Arial"/>
                <a:sym typeface="Arial"/>
              </a:defRPr>
            </a:lvl1pPr>
          </a:lstStyle>
          <a:p>
            <a:pPr algn="l"/>
            <a:r>
              <a:rPr lang="en-GB" sz="1400" b="0">
                <a:solidFill>
                  <a:srgbClr val="034EA2"/>
                </a:solidFill>
                <a:latin typeface="Arial Black" panose="020B0A04020102020204" pitchFamily="34" charset="0"/>
              </a:rPr>
              <a:t>CORONAVIRUS GLOBAL RESPONSE</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925154" y="187594"/>
            <a:ext cx="268610" cy="268610"/>
          </a:xfrm>
          <a:prstGeom prst="rect">
            <a:avLst/>
          </a:prstGeom>
        </p:spPr>
      </p:pic>
      <p:sp>
        <p:nvSpPr>
          <p:cNvPr id="9" name="TextBox 3"/>
          <p:cNvSpPr txBox="1"/>
          <p:nvPr userDrawn="1"/>
        </p:nvSpPr>
        <p:spPr>
          <a:xfrm>
            <a:off x="630000" y="6405036"/>
            <a:ext cx="1006686" cy="153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spAutoFit/>
          </a:bodyPr>
          <a:lstStyle/>
          <a:p>
            <a:pPr algn="l">
              <a:defRPr sz="2400" b="1">
                <a:solidFill>
                  <a:srgbClr val="FFFFFF"/>
                </a:solidFill>
                <a:latin typeface="Arial"/>
                <a:ea typeface="Arial"/>
                <a:cs typeface="Arial"/>
                <a:sym typeface="Arial"/>
              </a:defRPr>
            </a:pPr>
            <a:r>
              <a:rPr lang="de-DE" sz="1000" b="0">
                <a:solidFill>
                  <a:schemeClr val="tx1"/>
                </a:solidFill>
                <a:latin typeface="+mn-lt"/>
                <a:ea typeface="+mn-ea"/>
                <a:cs typeface="+mn-cs"/>
                <a:sym typeface="+mn-lt"/>
              </a:rPr>
              <a:t>#GlobalGoalUnite</a:t>
            </a:r>
          </a:p>
        </p:txBody>
      </p:sp>
    </p:spTree>
    <p:extLst>
      <p:ext uri="{BB962C8B-B14F-4D97-AF65-F5344CB8AC3E}">
        <p14:creationId xmlns:p14="http://schemas.microsoft.com/office/powerpoint/2010/main" val="657596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850880" cy="914400"/>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750483"/>
            <a:ext cx="10850880" cy="4466484"/>
          </a:xfrm>
        </p:spPr>
        <p:txBody>
          <a:bodyPr/>
          <a:lstStyle>
            <a:lvl2pPr>
              <a:defRPr sz="2133"/>
            </a:lvl2pPr>
            <a:lvl3pPr>
              <a:defRPr sz="1867"/>
            </a:lvl3pPr>
            <a:lvl4pPr>
              <a:defRPr sz="1600"/>
            </a:lvl4pPr>
            <a:lvl5pPr>
              <a:defRPr sz="16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3">
            <a:extLst>
              <a:ext uri="{FF2B5EF4-FFF2-40B4-BE49-F238E27FC236}">
                <a16:creationId xmlns:a16="http://schemas.microsoft.com/office/drawing/2014/main" id="{82D45AE0-EFBD-7349-A5C4-1AA1031C2827}"/>
              </a:ext>
            </a:extLst>
          </p:cNvPr>
          <p:cNvSpPr>
            <a:spLocks noGrp="1"/>
          </p:cNvSpPr>
          <p:nvPr>
            <p:ph type="dt" sz="half" idx="2"/>
          </p:nvPr>
        </p:nvSpPr>
        <p:spPr>
          <a:xfrm>
            <a:off x="10098897" y="6356351"/>
            <a:ext cx="1584960" cy="365125"/>
          </a:xfrm>
          <a:prstGeom prst="rect">
            <a:avLst/>
          </a:prstGeom>
        </p:spPr>
        <p:txBody>
          <a:bodyPr vert="horz" lIns="0" tIns="45720" rIns="0" bIns="45720" rtlCol="0" anchor="b" anchorCtr="0"/>
          <a:lstStyle>
            <a:lvl1pPr algn="l">
              <a:defRPr sz="1333">
                <a:solidFill>
                  <a:schemeClr val="tx1"/>
                </a:solidFill>
                <a:latin typeface="Calibri" panose="020F0502020204030204" pitchFamily="34" charset="0"/>
                <a:cs typeface="Calibri" panose="020F0502020204030204" pitchFamily="34" charset="0"/>
              </a:defRPr>
            </a:lvl1pPr>
          </a:lstStyle>
          <a:p>
            <a:fld id="{ACB6B034-2F67-554B-A124-FF999B9B0144}" type="datetime4">
              <a:rPr lang="en-US" smtClean="0">
                <a:solidFill>
                  <a:srgbClr val="000000"/>
                </a:solidFill>
              </a:rPr>
              <a:t>March 14, 2024</a:t>
            </a:fld>
            <a:endParaRPr lang="en-US">
              <a:solidFill>
                <a:srgbClr val="000000"/>
              </a:solidFill>
            </a:endParaRPr>
          </a:p>
        </p:txBody>
      </p:sp>
      <p:sp>
        <p:nvSpPr>
          <p:cNvPr id="6" name="Footer Placeholder 4">
            <a:extLst>
              <a:ext uri="{FF2B5EF4-FFF2-40B4-BE49-F238E27FC236}">
                <a16:creationId xmlns:a16="http://schemas.microsoft.com/office/drawing/2014/main" id="{E3DC4F73-7AC9-284C-9291-17EF4AD4D1CD}"/>
              </a:ext>
            </a:extLst>
          </p:cNvPr>
          <p:cNvSpPr>
            <a:spLocks noGrp="1"/>
          </p:cNvSpPr>
          <p:nvPr>
            <p:ph type="ftr" sz="quarter" idx="3"/>
          </p:nvPr>
        </p:nvSpPr>
        <p:spPr>
          <a:xfrm>
            <a:off x="4019295" y="6356351"/>
            <a:ext cx="5974080" cy="365125"/>
          </a:xfrm>
          <a:prstGeom prst="rect">
            <a:avLst/>
          </a:prstGeom>
        </p:spPr>
        <p:txBody>
          <a:bodyPr vert="horz" lIns="0" tIns="45720" rIns="0" bIns="45720" rtlCol="0" anchor="b" anchorCtr="0"/>
          <a:lstStyle>
            <a:lvl1pPr algn="r">
              <a:defRPr sz="1333">
                <a:solidFill>
                  <a:schemeClr val="tx1"/>
                </a:solidFill>
                <a:latin typeface="Calibri" panose="020F0502020204030204" pitchFamily="34" charset="0"/>
                <a:cs typeface="Calibri" panose="020F0502020204030204" pitchFamily="34" charset="0"/>
              </a:defRPr>
            </a:lvl1pPr>
          </a:lstStyle>
          <a:p>
            <a:r>
              <a:rPr lang="en-US">
                <a:solidFill>
                  <a:srgbClr val="000000"/>
                </a:solidFill>
              </a:rPr>
              <a:t>Enter title via "insert&gt;header and footer&gt;footer" |</a:t>
            </a:r>
          </a:p>
        </p:txBody>
      </p:sp>
      <p:sp>
        <p:nvSpPr>
          <p:cNvPr id="7" name="Slide Number Placeholder 5">
            <a:extLst>
              <a:ext uri="{FF2B5EF4-FFF2-40B4-BE49-F238E27FC236}">
                <a16:creationId xmlns:a16="http://schemas.microsoft.com/office/drawing/2014/main" id="{8FBD14FA-68BC-0344-B66F-475B9A088CD8}"/>
              </a:ext>
            </a:extLst>
          </p:cNvPr>
          <p:cNvSpPr>
            <a:spLocks noGrp="1"/>
          </p:cNvSpPr>
          <p:nvPr>
            <p:ph type="sldNum" sz="quarter" idx="4"/>
          </p:nvPr>
        </p:nvSpPr>
        <p:spPr>
          <a:xfrm>
            <a:off x="11475053" y="6438012"/>
            <a:ext cx="390144" cy="283464"/>
          </a:xfrm>
          <a:prstGeom prst="rect">
            <a:avLst/>
          </a:prstGeom>
        </p:spPr>
        <p:txBody>
          <a:bodyPr vert="horz" lIns="0" tIns="45720" rIns="0" bIns="45720" rtlCol="0" anchor="b" anchorCtr="0"/>
          <a:lstStyle>
            <a:lvl1pPr algn="ctr">
              <a:defRPr sz="1333"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64850579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0"/>
            <a:ext cx="10972800" cy="692299"/>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151068"/>
            <a:ext cx="10972800" cy="5065900"/>
          </a:xfrm>
        </p:spPr>
        <p:txBody>
          <a:bodyPr/>
          <a:lstStyle>
            <a:lvl2pPr>
              <a:defRPr/>
            </a:lvl2pPr>
            <a:lvl3pPr>
              <a:defRPr/>
            </a:lvl3pPr>
            <a:lvl4pPr>
              <a:defRPr/>
            </a:lvl4pPr>
            <a:lvl5pPr>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304684034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29"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30" name="Rectangle 29"/>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26"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16" name="Group 15"/>
          <p:cNvGrpSpPr/>
          <p:nvPr/>
        </p:nvGrpSpPr>
        <p:grpSpPr>
          <a:xfrm>
            <a:off x="5012098" y="292077"/>
            <a:ext cx="2127716" cy="2280707"/>
            <a:chOff x="5012098" y="292077"/>
            <a:chExt cx="2127716" cy="2280707"/>
          </a:xfrm>
        </p:grpSpPr>
        <p:pic>
          <p:nvPicPr>
            <p:cNvPr id="17"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9"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2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455282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7ECA6A01-5C51-3A47-A141-0AF7735EC260}" type="datetime1">
              <a:rPr lang="en-IN" smtClean="0">
                <a:solidFill>
                  <a:srgbClr val="FFFFFF">
                    <a:lumMod val="50000"/>
                  </a:srgbClr>
                </a:solidFill>
              </a:rPr>
              <a:pPr/>
              <a:t>14-03-2024</a:t>
            </a:fld>
            <a:endParaRPr lang="en-US">
              <a:solidFill>
                <a:srgbClr val="FFFFFF">
                  <a:lumMod val="50000"/>
                </a:srgbClr>
              </a:solidFill>
            </a:endParaRP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1"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5" name="Title 4"/>
          <p:cNvSpPr>
            <a:spLocks noGrp="1"/>
          </p:cNvSpPr>
          <p:nvPr>
            <p:ph type="title"/>
          </p:nvPr>
        </p:nvSpPr>
        <p:spPr>
          <a:xfrm>
            <a:off x="1672683" y="484301"/>
            <a:ext cx="9902282" cy="941796"/>
          </a:xfrm>
        </p:spPr>
        <p:txBody>
          <a:bodyPr anchor="t">
            <a:noAutofit/>
          </a:bodyPr>
          <a:lstStyle>
            <a:lvl1pPr>
              <a:defRPr sz="3400" baseline="0"/>
            </a:lvl1pPr>
          </a:lstStyle>
          <a:p>
            <a:r>
              <a:rPr lang="en-US"/>
              <a:t>Click to edit Master title style</a:t>
            </a:r>
          </a:p>
        </p:txBody>
      </p:sp>
    </p:spTree>
    <p:extLst>
      <p:ext uri="{BB962C8B-B14F-4D97-AF65-F5344CB8AC3E}">
        <p14:creationId xmlns:p14="http://schemas.microsoft.com/office/powerpoint/2010/main" val="3094460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C861C253-67F6-A745-810F-6A21A7654132}" type="datetime1">
              <a:rPr lang="en-IN" smtClean="0">
                <a:solidFill>
                  <a:srgbClr val="FFFFFF">
                    <a:lumMod val="50000"/>
                  </a:srgbClr>
                </a:solidFill>
              </a:rPr>
              <a:pPr/>
              <a:t>14-03-2024</a:t>
            </a:fld>
            <a:endParaRPr lang="en-US">
              <a:solidFill>
                <a:srgbClr val="FFFFFF">
                  <a:lumMod val="50000"/>
                </a:srgb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85212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D9A2537-C367-D04B-BFD5-BEA4502AEFE3}" type="datetime1">
              <a:rPr lang="en-IN" smtClean="0">
                <a:solidFill>
                  <a:srgbClr val="FFFFFF"/>
                </a:solidFill>
              </a:rPr>
              <a:pPr/>
              <a:t>14-03-2024</a:t>
            </a:fld>
            <a:endParaRPr lang="en-US">
              <a:solidFill>
                <a:srgbClr val="FFFFFF"/>
              </a:solidFill>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973682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CE32ADE-EF0A-0A40-9DD0-9CEABD90B7AA}" type="datetime1">
              <a:rPr lang="en-IN" smtClean="0">
                <a:solidFill>
                  <a:srgbClr val="FFFFFF"/>
                </a:solidFill>
              </a:rPr>
              <a:pPr/>
              <a:t>14-03-2024</a:t>
            </a:fld>
            <a:endParaRPr lang="en-US">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238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FIND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52545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EEF2CAD7-1138-914C-A913-A83E53CBA23B}" type="datetime1">
              <a:rPr lang="en-IN" smtClean="0">
                <a:solidFill>
                  <a:srgbClr val="FFFFFF"/>
                </a:solidFill>
              </a:rPr>
              <a:pPr/>
              <a:t>14-03-2024</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2129572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1D793780-B916-3E4B-B699-CB1B14483207}" type="datetime1">
              <a:rPr lang="en-IN" smtClean="0">
                <a:solidFill>
                  <a:srgbClr val="FFFFFF"/>
                </a:solidFill>
              </a:rPr>
              <a:pPr/>
              <a:t>14-03-2024</a:t>
            </a:fld>
            <a:endParaRPr lang="en-US">
              <a:solidFill>
                <a:srgbClr val="FFFFFF"/>
              </a:solidFill>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4" name="Title 3"/>
          <p:cNvSpPr>
            <a:spLocks noGrp="1"/>
          </p:cNvSpPr>
          <p:nvPr>
            <p:ph type="title"/>
          </p:nvPr>
        </p:nvSpPr>
        <p:spPr>
          <a:xfrm>
            <a:off x="630000" y="484301"/>
            <a:ext cx="6392592"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51483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1C190436-DB68-E140-9DD1-0ED093BC709E}" type="datetime1">
              <a:rPr lang="en-IN" smtClean="0">
                <a:solidFill>
                  <a:srgbClr val="FFFFFF">
                    <a:lumMod val="50000"/>
                  </a:srgbClr>
                </a:solidFill>
              </a:rPr>
              <a:pPr/>
              <a:t>14-03-2024</a:t>
            </a:fld>
            <a:endParaRPr lang="en-US">
              <a:solidFill>
                <a:srgbClr val="FFFFFF">
                  <a:lumMod val="50000"/>
                </a:srgbClr>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6638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38644904-661D-384F-B000-298975714685}" type="datetime1">
              <a:rPr lang="en-IN" smtClean="0">
                <a:solidFill>
                  <a:srgbClr val="FFFFFF">
                    <a:lumMod val="50000"/>
                  </a:srgbClr>
                </a:solidFill>
              </a:rPr>
              <a:pPr/>
              <a:t>14-03-2024</a:t>
            </a:fld>
            <a:endParaRPr lang="en-US">
              <a:solidFill>
                <a:srgbClr val="FFFFFF">
                  <a:lumMod val="50000"/>
                </a:srgbClr>
              </a:solidFill>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Picture Placeholder 18">
            <a:extLst>
              <a:ext uri="{FF2B5EF4-FFF2-40B4-BE49-F238E27FC236}">
                <a16:creationId xmlns:a16="http://schemas.microsoft.com/office/drawing/2014/main" id="{7F376F53-6679-3E49-90B8-5BCC92BD6357}"/>
              </a:ext>
            </a:extLst>
          </p:cNvPr>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212418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5547911B-7444-ED4E-AC45-82505C11EC52}" type="datetime1">
              <a:rPr lang="en-IN" smtClean="0">
                <a:solidFill>
                  <a:srgbClr val="FFFFFF">
                    <a:lumMod val="50000"/>
                  </a:srgbClr>
                </a:solidFill>
              </a:rPr>
              <a:pPr/>
              <a:t>14-03-2024</a:t>
            </a:fld>
            <a:endParaRPr lang="en-US">
              <a:solidFill>
                <a:srgbClr val="FFFFFF">
                  <a:lumMod val="50000"/>
                </a:srgbClr>
              </a:solidFill>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Picture Placeholder 5">
            <a:extLst>
              <a:ext uri="{FF2B5EF4-FFF2-40B4-BE49-F238E27FC236}">
                <a16:creationId xmlns:a16="http://schemas.microsoft.com/office/drawing/2014/main" id="{8211ABC6-3B83-7643-AB85-397BA03D89D9}"/>
              </a:ext>
            </a:extLst>
          </p:cNvPr>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3231382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4E83AAE-8693-AC43-BBE5-F950A2FA9AB1}" type="datetime1">
              <a:rPr lang="en-IN" smtClean="0">
                <a:solidFill>
                  <a:srgbClr val="FFFFFF"/>
                </a:solidFill>
              </a:rPr>
              <a:pPr/>
              <a:t>14-03-2024</a:t>
            </a:fld>
            <a:endParaRPr lang="en-US">
              <a:solidFill>
                <a:srgbClr val="FFFFFF"/>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59589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94A4E2DF-A56E-DE4B-8F8A-539C68BDED0F}" type="datetime1">
              <a:rPr lang="en-IN" smtClean="0">
                <a:solidFill>
                  <a:srgbClr val="FFFFFF">
                    <a:lumMod val="50000"/>
                  </a:srgbClr>
                </a:solidFill>
              </a:rPr>
              <a:pPr/>
              <a:t>14-03-2024</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79248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02B1C1E7-045F-E94A-8758-841C9CCB494F}" type="datetime1">
              <a:rPr lang="en-IN" smtClean="0">
                <a:solidFill>
                  <a:srgbClr val="FFFFFF"/>
                </a:solidFill>
              </a:rPr>
              <a:pPr/>
              <a:t>14-03-2024</a:t>
            </a:fld>
            <a:endParaRPr lang="en-US">
              <a:solidFill>
                <a:srgbClr val="FFFFFF"/>
              </a:solidFill>
            </a:endParaRP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022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0B8E9D58-E594-7D4D-95CD-7615E9B500E9}" type="datetime1">
              <a:rPr lang="en-IN" smtClean="0">
                <a:solidFill>
                  <a:srgbClr val="FFFFFF">
                    <a:lumMod val="50000"/>
                  </a:srgbClr>
                </a:solidFill>
              </a:rPr>
              <a:pPr/>
              <a:t>14-03-2024</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35843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9F768482-FEE2-C843-8572-CCE786943F10}" type="datetime1">
              <a:rPr lang="en-IN" smtClean="0">
                <a:solidFill>
                  <a:srgbClr val="FFFFFF"/>
                </a:solidFill>
              </a:rPr>
              <a:pPr/>
              <a:t>14-03-2024</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49234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502231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562707" y="1508400"/>
            <a:ext cx="11068063" cy="459000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08514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403DCA84-647E-5D48-8977-D2951DDB0889}" type="datetime1">
              <a:rPr lang="en-IN" smtClean="0">
                <a:solidFill>
                  <a:srgbClr val="FFFFFF">
                    <a:lumMod val="50000"/>
                  </a:srgbClr>
                </a:solidFill>
              </a:rPr>
              <a:pPr/>
              <a:t>14-03-2024</a:t>
            </a:fld>
            <a:endParaRPr lang="en-US">
              <a:solidFill>
                <a:srgbClr val="FFFFFF">
                  <a:lumMod val="50000"/>
                </a:srgbClr>
              </a:solidFill>
            </a:endParaRP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p:cNvSpPr>
            <a:spLocks noGrp="1"/>
          </p:cNvSpPr>
          <p:nvPr>
            <p:ph type="title"/>
          </p:nvPr>
        </p:nvSpPr>
        <p:spPr>
          <a:xfrm>
            <a:off x="630000" y="484301"/>
            <a:ext cx="4740576"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1845859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B2F6FEBF-E6DE-DB45-B34A-9C853A8BBABF}" type="datetime1">
              <a:rPr lang="en-IN" smtClean="0">
                <a:solidFill>
                  <a:srgbClr val="FFFFFF"/>
                </a:solidFill>
              </a:rPr>
              <a:pPr/>
              <a:t>14-03-2024</a:t>
            </a:fld>
            <a:endParaRPr lang="en-US">
              <a:solidFill>
                <a:srgbClr val="FFFFFF"/>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69046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1007087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5FC83343-38DD-B441-96F1-B5229EE9F4F7}" type="datetime1">
              <a:rPr lang="en-IN" smtClean="0">
                <a:solidFill>
                  <a:srgbClr val="FFFFFF">
                    <a:lumMod val="50000"/>
                  </a:srgbClr>
                </a:solidFill>
              </a:rPr>
              <a:pPr/>
              <a:t>14-03-2024</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p:cNvSpPr>
            <a:spLocks noGrp="1"/>
          </p:cNvSpPr>
          <p:nvPr>
            <p:ph type="title"/>
          </p:nvPr>
        </p:nvSpPr>
        <p:spPr>
          <a:xfrm>
            <a:off x="630000" y="484301"/>
            <a:ext cx="6953424"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2423012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ACFC87C5-BF74-8C42-AC8A-DE070537B5A8}" type="datetime1">
              <a:rPr lang="en-IN" smtClean="0">
                <a:solidFill>
                  <a:srgbClr val="FFFFFF"/>
                </a:solidFill>
              </a:rPr>
              <a:pPr/>
              <a:t>14-03-2024</a:t>
            </a:fld>
            <a:endParaRPr lang="en-US">
              <a:solidFill>
                <a:srgbClr val="FFFFFF"/>
              </a:solidFill>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723949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961A546-5529-3C4D-90DF-E344259D87F8}" type="datetime1">
              <a:rPr lang="en-IN" smtClean="0">
                <a:solidFill>
                  <a:srgbClr val="FFFFFF">
                    <a:lumMod val="50000"/>
                  </a:srgbClr>
                </a:solidFill>
              </a:rPr>
              <a:pPr/>
              <a:t>14-03-2024</a:t>
            </a:fld>
            <a:endParaRPr lang="en-US">
              <a:solidFill>
                <a:srgbClr val="FFFFFF">
                  <a:lumMod val="50000"/>
                </a:srgbClr>
              </a:solidFill>
            </a:endParaRP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16090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00900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CDACC40C-9F93-4C46-9A1E-A20226BBFC15}" type="datetime1">
              <a:rPr lang="en-IN" smtClean="0">
                <a:solidFill>
                  <a:srgbClr val="FFFFFF"/>
                </a:solidFill>
              </a:rPr>
              <a:pPr/>
              <a:t>14-03-2024</a:t>
            </a:fld>
            <a:endParaRPr lang="en-US">
              <a:solidFill>
                <a:srgbClr val="FFFFFF"/>
              </a:solidFill>
            </a:endParaRP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484301"/>
            <a:ext cx="10933350" cy="941796"/>
          </a:xfrm>
        </p:spPr>
        <p:txBody>
          <a:bodyPr anchor="t"/>
          <a:lstStyle>
            <a:lvl1pPr>
              <a:defRPr sz="3400" b="0">
                <a:solidFill>
                  <a:srgbClr val="FFFFFF"/>
                </a:solidFill>
              </a:defRPr>
            </a:lvl1pPr>
          </a:lstStyle>
          <a:p>
            <a:r>
              <a:rPr lang="en-US"/>
              <a:t>Click to edit Master title style</a:t>
            </a:r>
          </a:p>
        </p:txBody>
      </p:sp>
    </p:spTree>
    <p:extLst>
      <p:ext uri="{BB962C8B-B14F-4D97-AF65-F5344CB8AC3E}">
        <p14:creationId xmlns:p14="http://schemas.microsoft.com/office/powerpoint/2010/main" val="898110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D72668B9-976F-2942-89F6-3AEBCC9E0747}" type="datetime1">
              <a:rPr lang="en-IN" smtClean="0">
                <a:solidFill>
                  <a:srgbClr val="FFFFFF">
                    <a:lumMod val="50000"/>
                  </a:srgbClr>
                </a:solidFill>
              </a:rPr>
              <a:pPr/>
              <a:t>14-03-2024</a:t>
            </a:fld>
            <a:endParaRPr lang="en-US">
              <a:solidFill>
                <a:srgbClr val="FFFFFF">
                  <a:lumMod val="50000"/>
                </a:srgbClr>
              </a:solidFill>
            </a:endParaRP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06882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E9006DB-079D-A04A-AA37-BDABF33C1F16}" type="datetime1">
              <a:rPr lang="en-IN" smtClean="0">
                <a:solidFill>
                  <a:srgbClr val="FFFFFF"/>
                </a:solidFill>
              </a:rPr>
              <a:pPr/>
              <a:t>14-03-2024</a:t>
            </a:fld>
            <a:endParaRPr lang="en-US">
              <a:solidFill>
                <a:srgbClr val="FFFFFF"/>
              </a:solidFill>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7642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5"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A1101256-1542-204D-836D-2F4A0FCF751F}" type="datetime1">
              <a:rPr lang="en-IN" smtClean="0">
                <a:solidFill>
                  <a:srgbClr val="FFFFFF">
                    <a:lumMod val="50000"/>
                  </a:srgbClr>
                </a:solidFill>
              </a:rPr>
              <a:pPr/>
              <a:t>14-03-2024</a:t>
            </a:fld>
            <a:endParaRPr lang="en-US">
              <a:solidFill>
                <a:srgbClr val="FFFFFF">
                  <a:lumMod val="50000"/>
                </a:srgbClr>
              </a:solidFill>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24728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IND - Blank">
    <p:spTree>
      <p:nvGrpSpPr>
        <p:cNvPr id="1" name=""/>
        <p:cNvGrpSpPr/>
        <p:nvPr/>
      </p:nvGrpSpPr>
      <p:grpSpPr>
        <a:xfrm>
          <a:off x="0" y="0"/>
          <a:ext cx="0" cy="0"/>
          <a:chOff x="0" y="0"/>
          <a:chExt cx="0" cy="0"/>
        </a:xfrm>
      </p:grpSpPr>
      <p:sp>
        <p:nvSpPr>
          <p:cNvPr id="7" name="Titre 1"/>
          <p:cNvSpPr>
            <a:spLocks noGrp="1"/>
          </p:cNvSpPr>
          <p:nvPr>
            <p:ph type="title"/>
          </p:nvPr>
        </p:nvSpPr>
        <p:spPr>
          <a:xfrm>
            <a:off x="2136001" y="424355"/>
            <a:ext cx="9199395" cy="790065"/>
          </a:xfrm>
          <a:prstGeom prst="rect">
            <a:avLst/>
          </a:prstGeom>
        </p:spPr>
        <p:txBody>
          <a:bodyPr/>
          <a:lstStyle/>
          <a:p>
            <a:r>
              <a:rPr lang="en-US" noProof="0"/>
              <a:t>Click to edit Master title style</a:t>
            </a:r>
            <a:endParaRPr lang="en-GB" noProof="0"/>
          </a:p>
        </p:txBody>
      </p:sp>
    </p:spTree>
    <p:extLst>
      <p:ext uri="{BB962C8B-B14F-4D97-AF65-F5344CB8AC3E}">
        <p14:creationId xmlns:p14="http://schemas.microsoft.com/office/powerpoint/2010/main" val="413887568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8"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9" name="Group 18"/>
          <p:cNvGrpSpPr/>
          <p:nvPr/>
        </p:nvGrpSpPr>
        <p:grpSpPr>
          <a:xfrm>
            <a:off x="5012098" y="292077"/>
            <a:ext cx="2127716" cy="2280707"/>
            <a:chOff x="5012098" y="292077"/>
            <a:chExt cx="2127716" cy="2280707"/>
          </a:xfrm>
        </p:grpSpPr>
        <p:pic>
          <p:nvPicPr>
            <p:cNvPr id="2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3763958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3C88E4C7-93C7-0340-A555-90EDBC1F29D8}" type="datetime1">
              <a:rPr lang="en-IN" smtClean="0">
                <a:solidFill>
                  <a:srgbClr val="FFFFFF">
                    <a:lumMod val="50000"/>
                  </a:srgbClr>
                </a:solidFill>
              </a:rPr>
              <a:pPr/>
              <a:t>14-03-2024</a:t>
            </a:fld>
            <a:endParaRPr lang="en-US">
              <a:solidFill>
                <a:srgbClr val="FFFFFF">
                  <a:lumMod val="50000"/>
                </a:srgbClr>
              </a:solidFill>
            </a:endParaRP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9546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7" name="Rectangle 16"/>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9"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29" name="Group 28"/>
          <p:cNvGrpSpPr/>
          <p:nvPr/>
        </p:nvGrpSpPr>
        <p:grpSpPr>
          <a:xfrm>
            <a:off x="5012098" y="292077"/>
            <a:ext cx="2127716" cy="2280707"/>
            <a:chOff x="5012098" y="292077"/>
            <a:chExt cx="2127716" cy="2280707"/>
          </a:xfrm>
        </p:grpSpPr>
        <p:pic>
          <p:nvPicPr>
            <p:cNvPr id="3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3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3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2057029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5B2BD2CA-1D8F-2C4C-BE76-F2F65DF88CD0}" type="datetime1">
              <a:rPr lang="en-IN" smtClean="0">
                <a:solidFill>
                  <a:srgbClr val="FFFFFF">
                    <a:lumMod val="50000"/>
                  </a:srgbClr>
                </a:solidFill>
              </a:rPr>
              <a:pPr/>
              <a:t>14-03-2024</a:t>
            </a:fld>
            <a:endParaRPr lang="en-US">
              <a:solidFill>
                <a:srgbClr val="FFFFFF">
                  <a:lumMod val="50000"/>
                </a:srgbClr>
              </a:solidFill>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3"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4" name="Title 3"/>
          <p:cNvSpPr>
            <a:spLocks noGrp="1"/>
          </p:cNvSpPr>
          <p:nvPr>
            <p:ph type="title"/>
          </p:nvPr>
        </p:nvSpPr>
        <p:spPr>
          <a:xfrm>
            <a:off x="1672683" y="622800"/>
            <a:ext cx="9902282" cy="664797"/>
          </a:xfrm>
        </p:spPr>
        <p:txBody>
          <a:bodyPr anchor="t"/>
          <a:lstStyle/>
          <a:p>
            <a:r>
              <a:rPr lang="en-US"/>
              <a:t>Click to edit Master title style</a:t>
            </a:r>
          </a:p>
        </p:txBody>
      </p:sp>
    </p:spTree>
    <p:extLst>
      <p:ext uri="{BB962C8B-B14F-4D97-AF65-F5344CB8AC3E}">
        <p14:creationId xmlns:p14="http://schemas.microsoft.com/office/powerpoint/2010/main" val="1586906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AFFCDBE4-75F5-8A44-8D74-831D42274632}" type="datetime1">
              <a:rPr lang="en-IN" smtClean="0">
                <a:solidFill>
                  <a:srgbClr val="FFFFFF">
                    <a:lumMod val="50000"/>
                  </a:srgbClr>
                </a:solidFill>
              </a:rPr>
              <a:pPr/>
              <a:t>14-03-2024</a:t>
            </a:fld>
            <a:endParaRPr lang="en-US">
              <a:solidFill>
                <a:srgbClr val="FFFFFF">
                  <a:lumMod val="50000"/>
                </a:srgbClr>
              </a:solidFill>
            </a:endParaRP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accent6"/>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07040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9AA71B7A-1D2E-1146-B958-DB6E0DE15F88}" type="datetime1">
              <a:rPr lang="en-IN" smtClean="0">
                <a:solidFill>
                  <a:srgbClr val="FFFFFF">
                    <a:lumMod val="50000"/>
                  </a:srgbClr>
                </a:solidFill>
              </a:rPr>
              <a:pPr/>
              <a:t>14-03-2024</a:t>
            </a:fld>
            <a:endParaRPr lang="en-US">
              <a:solidFill>
                <a:srgbClr val="FFFFFF">
                  <a:lumMod val="50000"/>
                </a:srgbClr>
              </a:solidFill>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0333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E760AE9B-4C97-2344-B339-23B80A61E9DA}" type="datetime1">
              <a:rPr lang="en-IN" smtClean="0">
                <a:solidFill>
                  <a:srgbClr val="FFFFFF">
                    <a:lumMod val="50000"/>
                  </a:srgbClr>
                </a:solidFill>
              </a:rPr>
              <a:pPr/>
              <a:t>14-03-2024</a:t>
            </a:fld>
            <a:endParaRPr lang="en-US">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accent6"/>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2913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43A3D3B9-B8DF-7C44-A3C1-1AD328DA6A78}" type="datetime1">
              <a:rPr lang="en-IN" smtClean="0">
                <a:solidFill>
                  <a:srgbClr val="FFFFFF"/>
                </a:solidFill>
              </a:rPr>
              <a:pPr/>
              <a:t>14-03-2024</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589575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p:nvSpPr>
        <p:spPr bwMode="white">
          <a:xfrm>
            <a:off x="-635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5C77EEAB-F9A0-B24B-BEDC-CBE677B5A583}" type="datetime1">
              <a:rPr lang="en-IN" smtClean="0">
                <a:solidFill>
                  <a:srgbClr val="FFFFFF"/>
                </a:solidFill>
              </a:rPr>
              <a:pPr/>
              <a:t>14-03-2024</a:t>
            </a:fld>
            <a:endParaRPr lang="en-US">
              <a:solidFill>
                <a:srgbClr val="FFFFFF"/>
              </a:solidFill>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6" name="Title 5"/>
          <p:cNvSpPr>
            <a:spLocks noGrp="1"/>
          </p:cNvSpPr>
          <p:nvPr>
            <p:ph type="title"/>
          </p:nvPr>
        </p:nvSpPr>
        <p:spPr>
          <a:xfrm>
            <a:off x="630000" y="622800"/>
            <a:ext cx="6350663" cy="664797"/>
          </a:xfrm>
        </p:spPr>
        <p:txBody>
          <a:bodyPr anchor="t"/>
          <a:lstStyle/>
          <a:p>
            <a:r>
              <a:rPr lang="en-US"/>
              <a:t>Click to edit Master title style</a:t>
            </a:r>
          </a:p>
        </p:txBody>
      </p:sp>
    </p:spTree>
    <p:extLst>
      <p:ext uri="{BB962C8B-B14F-4D97-AF65-F5344CB8AC3E}">
        <p14:creationId xmlns:p14="http://schemas.microsoft.com/office/powerpoint/2010/main" val="3864272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52CE802-0CDE-4242-AA01-9CFE6677CCD9}" type="datetime1">
              <a:rPr lang="en-IN" smtClean="0">
                <a:solidFill>
                  <a:srgbClr val="FFFFFF"/>
                </a:solidFill>
              </a:rPr>
              <a:pPr/>
              <a:t>14-03-2024</a:t>
            </a:fld>
            <a:endParaRPr lang="en-US">
              <a:solidFill>
                <a:srgbClr val="FFFFFF"/>
              </a:solidFill>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5" name="Title 4"/>
          <p:cNvSpPr>
            <a:spLocks noGrp="1"/>
          </p:cNvSpPr>
          <p:nvPr>
            <p:ph type="title"/>
          </p:nvPr>
        </p:nvSpPr>
        <p:spPr>
          <a:xfrm>
            <a:off x="630000" y="622800"/>
            <a:ext cx="8201766" cy="664797"/>
          </a:xfrm>
        </p:spPr>
        <p:txBody>
          <a:bodyPr anchor="t"/>
          <a:lstStyle/>
          <a:p>
            <a:r>
              <a:rPr lang="en-US"/>
              <a:t>Click to edit Master title style</a:t>
            </a:r>
          </a:p>
        </p:txBody>
      </p:sp>
    </p:spTree>
    <p:extLst>
      <p:ext uri="{BB962C8B-B14F-4D97-AF65-F5344CB8AC3E}">
        <p14:creationId xmlns:p14="http://schemas.microsoft.com/office/powerpoint/2010/main" val="602472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lnSpc>
                <a:spcPct val="90000"/>
              </a:lnSpc>
              <a:spcBef>
                <a:spcPts val="225"/>
              </a:spcBef>
              <a:spcAft>
                <a:spcPts val="450"/>
              </a:spcAft>
              <a:defRPr sz="1800"/>
            </a:lvl1pPr>
            <a:lvl2pPr marL="202396" indent="-202396">
              <a:lnSpc>
                <a:spcPct val="90000"/>
              </a:lnSpc>
              <a:spcBef>
                <a:spcPts val="225"/>
              </a:spcBef>
              <a:spcAft>
                <a:spcPts val="450"/>
              </a:spcAft>
              <a:buFont typeface="Arial" pitchFamily="34" charset="0"/>
              <a:buChar char="•"/>
              <a:tabLst>
                <a:tab pos="202396" algn="l"/>
              </a:tabLst>
              <a:defRPr sz="1800">
                <a:latin typeface="Tahoma" pitchFamily="34" charset="0"/>
                <a:cs typeface="Tahoma" pitchFamily="34" charset="0"/>
              </a:defRPr>
            </a:lvl2pPr>
            <a:lvl3pPr marL="405984" indent="-203587">
              <a:lnSpc>
                <a:spcPct val="90000"/>
              </a:lnSpc>
              <a:spcBef>
                <a:spcPts val="225"/>
              </a:spcBef>
              <a:spcAft>
                <a:spcPts val="450"/>
              </a:spcAft>
              <a:buFont typeface="Tahoma" pitchFamily="34" charset="0"/>
              <a:buChar char="–"/>
              <a:tabLst>
                <a:tab pos="405984" algn="l"/>
              </a:tabLst>
              <a:defRPr sz="1800">
                <a:latin typeface="Tahoma" pitchFamily="34" charset="0"/>
                <a:cs typeface="Tahoma" pitchFamily="34" charset="0"/>
              </a:defRPr>
            </a:lvl3pPr>
            <a:lvl5pPr>
              <a:buNone/>
              <a:defRPr/>
            </a:lvl5pPr>
          </a:lstStyle>
          <a:p>
            <a:pPr lvl="0"/>
            <a:r>
              <a:rPr lang="en-US"/>
              <a:t>Click to edit Master text styles</a:t>
            </a:r>
          </a:p>
          <a:p>
            <a:pPr lvl="1"/>
            <a:r>
              <a:rPr lang="en-US"/>
              <a:t>Second level</a:t>
            </a:r>
          </a:p>
          <a:p>
            <a:pPr lvl="2"/>
            <a:r>
              <a:rPr lang="en-US"/>
              <a:t>Third level</a:t>
            </a:r>
          </a:p>
        </p:txBody>
      </p:sp>
      <p:sp>
        <p:nvSpPr>
          <p:cNvPr id="5" name="Slide Number Placeholder 4"/>
          <p:cNvSpPr>
            <a:spLocks noGrp="1"/>
          </p:cNvSpPr>
          <p:nvPr>
            <p:ph type="sldNum" sz="quarter" idx="10"/>
          </p:nvPr>
        </p:nvSpPr>
        <p:spPr/>
        <p:txBody>
          <a:bodyPr/>
          <a:lstStyle>
            <a:lvl1pPr>
              <a:lnSpc>
                <a:spcPct val="100000"/>
              </a:lnSpc>
              <a:defRPr>
                <a:solidFill>
                  <a:schemeClr val="bg1"/>
                </a:solidFill>
              </a:defRPr>
            </a:lvl1pPr>
          </a:lstStyle>
          <a:p>
            <a:fld id="{0580567E-5E8F-47A5-90DF-8BFEB1A71525}" type="slidenum">
              <a:rPr lang="en-GB" smtClean="0"/>
              <a:pPr/>
              <a:t>‹#›</a:t>
            </a:fld>
            <a:endParaRPr lang="en-GB"/>
          </a:p>
        </p:txBody>
      </p:sp>
      <p:grpSp>
        <p:nvGrpSpPr>
          <p:cNvPr id="8" name="Group 7">
            <a:extLst>
              <a:ext uri="{FF2B5EF4-FFF2-40B4-BE49-F238E27FC236}">
                <a16:creationId xmlns:a16="http://schemas.microsoft.com/office/drawing/2014/main" id="{8C4DBA95-4005-4682-AD2C-6F36E407BEF0}"/>
              </a:ext>
            </a:extLst>
          </p:cNvPr>
          <p:cNvGrpSpPr/>
          <p:nvPr userDrawn="1"/>
        </p:nvGrpSpPr>
        <p:grpSpPr>
          <a:xfrm>
            <a:off x="9903392" y="1"/>
            <a:ext cx="2277002" cy="1079500"/>
            <a:chOff x="9903392" y="1"/>
            <a:chExt cx="2277002" cy="1079500"/>
          </a:xfrm>
        </p:grpSpPr>
        <p:pic>
          <p:nvPicPr>
            <p:cNvPr id="7" name="Picture 6">
              <a:extLst>
                <a:ext uri="{FF2B5EF4-FFF2-40B4-BE49-F238E27FC236}">
                  <a16:creationId xmlns:a16="http://schemas.microsoft.com/office/drawing/2014/main" id="{96216246-3C82-4CB6-AE93-FFCD345B8078}"/>
                </a:ext>
              </a:extLst>
            </p:cNvPr>
            <p:cNvPicPr>
              <a:picLocks noChangeAspect="1"/>
            </p:cNvPicPr>
            <p:nvPr userDrawn="1"/>
          </p:nvPicPr>
          <p:blipFill>
            <a:blip r:embed="rId2"/>
            <a:stretch>
              <a:fillRect/>
            </a:stretch>
          </p:blipFill>
          <p:spPr>
            <a:xfrm>
              <a:off x="9903392" y="1"/>
              <a:ext cx="2277002" cy="1079500"/>
            </a:xfrm>
            <a:prstGeom prst="rect">
              <a:avLst/>
            </a:prstGeom>
          </p:spPr>
        </p:pic>
        <p:pic>
          <p:nvPicPr>
            <p:cNvPr id="6" name="Picture 2">
              <a:extLst>
                <a:ext uri="{FF2B5EF4-FFF2-40B4-BE49-F238E27FC236}">
                  <a16:creationId xmlns:a16="http://schemas.microsoft.com/office/drawing/2014/main" id="{EE223E1C-B7D0-431C-9004-51335B61650D}"/>
                </a:ext>
              </a:extLst>
            </p:cNvPr>
            <p:cNvPicPr>
              <a:picLocks noChangeAspect="1" noChangeArrowheads="1"/>
            </p:cNvPicPr>
            <p:nvPr userDrawn="1"/>
          </p:nvPicPr>
          <p:blipFill>
            <a:blip r:embed="rId3" r:link="rId4">
              <a:extLst>
                <a:ext uri="{28A0092B-C50C-407E-A947-70E740481C1C}">
                  <a14:useLocalDpi xmlns:a14="http://schemas.microsoft.com/office/drawing/2010/main" val="0"/>
                </a:ext>
              </a:extLst>
            </a:blip>
            <a:srcRect/>
            <a:stretch>
              <a:fillRect/>
            </a:stretch>
          </p:blipFill>
          <p:spPr bwMode="auto">
            <a:xfrm>
              <a:off x="10104370" y="146795"/>
              <a:ext cx="1696054" cy="82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484978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1462578" y="1825626"/>
            <a:ext cx="9263125" cy="4183623"/>
          </a:xfrm>
        </p:spPr>
        <p:txBody>
          <a:bodyPr/>
          <a:lstStyle>
            <a:lvl1pPr marL="284399" indent="-284399">
              <a:spcBef>
                <a:spcPts val="1098"/>
              </a:spcBef>
              <a:spcAft>
                <a:spcPts val="600"/>
              </a:spcAft>
              <a:defRPr/>
            </a:lvl1pPr>
            <a:lvl2pPr marL="284399" indent="-284399">
              <a:spcBef>
                <a:spcPts val="1098"/>
              </a:spcBef>
              <a:spcAft>
                <a:spcPts val="600"/>
              </a:spcAft>
              <a:defRPr/>
            </a:lvl2pPr>
            <a:lvl3pPr marL="284399" indent="-284399">
              <a:spcBef>
                <a:spcPts val="1098"/>
              </a:spcBef>
              <a:spcAft>
                <a:spcPts val="600"/>
              </a:spcAft>
              <a:defRPr/>
            </a:lvl3pPr>
            <a:lvl4pPr marL="284399" indent="-284399">
              <a:spcBef>
                <a:spcPts val="1098"/>
              </a:spcBef>
              <a:spcAft>
                <a:spcPts val="600"/>
              </a:spcAft>
              <a:defRPr/>
            </a:lvl4pPr>
            <a:lvl5pPr marL="284399" indent="-284399">
              <a:spcBef>
                <a:spcPts val="1098"/>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849164"/>
            <a:ext cx="960285" cy="688556"/>
          </a:xfrm>
          <a:prstGeom prst="rect">
            <a:avLst/>
          </a:prstGeom>
          <a:solidFill>
            <a:srgbClr val="DC1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EFEFE"/>
              </a:solidFill>
            </a:endParaRPr>
          </a:p>
        </p:txBody>
      </p:sp>
      <p:sp>
        <p:nvSpPr>
          <p:cNvPr id="8" name="Rectangle 7"/>
          <p:cNvSpPr/>
          <p:nvPr/>
        </p:nvSpPr>
        <p:spPr>
          <a:xfrm>
            <a:off x="10725703" y="6346705"/>
            <a:ext cx="628097" cy="511296"/>
          </a:xfrm>
          <a:prstGeom prst="rect">
            <a:avLst/>
          </a:prstGeom>
          <a:solidFill>
            <a:srgbClr val="AED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EFEFE"/>
              </a:solidFill>
            </a:endParaRPr>
          </a:p>
        </p:txBody>
      </p:sp>
      <p:sp>
        <p:nvSpPr>
          <p:cNvPr id="9" name="Rectangle 8"/>
          <p:cNvSpPr/>
          <p:nvPr/>
        </p:nvSpPr>
        <p:spPr>
          <a:xfrm>
            <a:off x="960287" y="6346706"/>
            <a:ext cx="523792" cy="41475"/>
          </a:xfrm>
          <a:prstGeom prst="rect">
            <a:avLst/>
          </a:prstGeom>
          <a:solidFill>
            <a:srgbClr val="5BBF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EFEFE"/>
              </a:solidFill>
            </a:endParaRPr>
          </a:p>
        </p:txBody>
      </p:sp>
      <p:sp>
        <p:nvSpPr>
          <p:cNvPr id="10" name="Slide Number Placeholder 3"/>
          <p:cNvSpPr txBox="1">
            <a:spLocks/>
          </p:cNvSpPr>
          <p:nvPr/>
        </p:nvSpPr>
        <p:spPr>
          <a:xfrm>
            <a:off x="960285" y="6451419"/>
            <a:ext cx="5834967" cy="163751"/>
          </a:xfrm>
          <a:prstGeom prst="rect">
            <a:avLst/>
          </a:prstGeom>
        </p:spPr>
        <p:txBody>
          <a:bodyPr lIns="0" tIns="0" rIns="0" bIns="0"/>
          <a:lstStyle>
            <a:defPPr>
              <a:defRPr lang="en-US"/>
            </a:defPPr>
            <a:lvl1pPr marL="0" algn="r" defTabSz="914400" rtl="0" eaLnBrk="1" latinLnBrk="0" hangingPunct="1">
              <a:defRPr sz="900" b="1" i="1" kern="1200">
                <a:solidFill>
                  <a:schemeClr val="tx1"/>
                </a:solidFill>
                <a:latin typeface="Verdana" charset="0"/>
                <a:ea typeface="Verdana" charset="0"/>
                <a:cs typeface="Verdan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fontAlgn="base">
              <a:spcBef>
                <a:spcPct val="0"/>
              </a:spcBef>
              <a:spcAft>
                <a:spcPct val="0"/>
              </a:spcAft>
            </a:pPr>
            <a:r>
              <a:rPr lang="en-US" sz="800" i="0">
                <a:solidFill>
                  <a:srgbClr val="000000"/>
                </a:solidFill>
                <a:latin typeface="Calibri" charset="0"/>
                <a:ea typeface="Calibri" charset="0"/>
                <a:cs typeface="Calibri" charset="0"/>
              </a:rPr>
              <a:t>GLI Training Package: </a:t>
            </a:r>
            <a:r>
              <a:rPr lang="en-US" sz="800" b="0" i="0">
                <a:solidFill>
                  <a:srgbClr val="000000"/>
                </a:solidFill>
                <a:latin typeface="Calibri" charset="0"/>
                <a:ea typeface="Calibri" charset="0"/>
                <a:cs typeface="Calibri" charset="0"/>
              </a:rPr>
              <a:t>Programme Module 2: </a:t>
            </a:r>
            <a:r>
              <a:rPr lang="en-GB" sz="800" b="0" i="0">
                <a:solidFill>
                  <a:srgbClr val="000000"/>
                </a:solidFill>
                <a:latin typeface="Calibri" charset="0"/>
                <a:ea typeface="Calibri" charset="0"/>
                <a:cs typeface="Calibri" charset="0"/>
              </a:rPr>
              <a:t>Implementing TB Diagnostics: Practical Considerations </a:t>
            </a:r>
            <a:endParaRPr lang="en-US" b="0" i="0">
              <a:solidFill>
                <a:srgbClr val="000000"/>
              </a:solidFill>
              <a:latin typeface="Calibri" charset="0"/>
              <a:ea typeface="Calibri" charset="0"/>
              <a:cs typeface="Calibri" charset="0"/>
            </a:endParaRPr>
          </a:p>
        </p:txBody>
      </p:sp>
      <p:sp>
        <p:nvSpPr>
          <p:cNvPr id="12" name="Slide Number Placeholder 24"/>
          <p:cNvSpPr txBox="1">
            <a:spLocks/>
          </p:cNvSpPr>
          <p:nvPr/>
        </p:nvSpPr>
        <p:spPr>
          <a:xfrm>
            <a:off x="10725702" y="6346706"/>
            <a:ext cx="614574" cy="268464"/>
          </a:xfrm>
          <a:prstGeom prst="rect">
            <a:avLst/>
          </a:prstGeom>
        </p:spPr>
        <p:txBody>
          <a:bodyPr lIns="0" tIns="0" rIns="0" bIns="0" anchor="ctr"/>
          <a:lstStyle>
            <a:defPPr>
              <a:defRPr lang="en-US"/>
            </a:defPPr>
            <a:lvl1pPr marL="0" algn="ctr" defTabSz="914400" rtl="0" eaLnBrk="1" latinLnBrk="0" hangingPunct="1">
              <a:defRPr sz="1200" b="1" kern="1200">
                <a:solidFill>
                  <a:schemeClr val="bg1"/>
                </a:solidFill>
                <a:latin typeface="Trebuchet MS" charset="0"/>
                <a:ea typeface="Trebuchet MS" charset="0"/>
                <a:cs typeface="Trebuchet M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6ADED4DA-3F3D-0045-AD2A-206E89C06E4F}" type="slidenum">
              <a:rPr lang="en-US" smtClean="0">
                <a:solidFill>
                  <a:srgbClr val="FEFEFE"/>
                </a:solidFill>
              </a:rPr>
              <a:pPr fontAlgn="base">
                <a:spcBef>
                  <a:spcPct val="0"/>
                </a:spcBef>
                <a:spcAft>
                  <a:spcPct val="0"/>
                </a:spcAft>
              </a:pPr>
              <a:t>‹#›</a:t>
            </a:fld>
            <a:endParaRPr lang="en-US">
              <a:solidFill>
                <a:srgbClr val="FEFEFE"/>
              </a:solidFill>
            </a:endParaRPr>
          </a:p>
        </p:txBody>
      </p:sp>
      <p:sp>
        <p:nvSpPr>
          <p:cNvPr id="17" name="Title 16"/>
          <p:cNvSpPr>
            <a:spLocks noGrp="1"/>
          </p:cNvSpPr>
          <p:nvPr>
            <p:ph type="title" hasCustomPrompt="1"/>
          </p:nvPr>
        </p:nvSpPr>
        <p:spPr>
          <a:xfrm>
            <a:off x="1462580" y="849164"/>
            <a:ext cx="9263122" cy="688556"/>
          </a:xfrm>
        </p:spPr>
        <p:txBody>
          <a:bodyPr wrap="square">
            <a:normAutofit/>
          </a:bodyPr>
          <a:lstStyle/>
          <a:p>
            <a:r>
              <a:rPr lang="en-US"/>
              <a:t>CLICK TO EDIT MASTER TITLE STYLE </a:t>
            </a:r>
          </a:p>
        </p:txBody>
      </p:sp>
    </p:spTree>
    <p:extLst>
      <p:ext uri="{BB962C8B-B14F-4D97-AF65-F5344CB8AC3E}">
        <p14:creationId xmlns:p14="http://schemas.microsoft.com/office/powerpoint/2010/main" val="964576572"/>
      </p:ext>
    </p:extLst>
  </p:cSld>
  <p:clrMapOvr>
    <a:masterClrMapping/>
  </p:clrMapOvr>
  <p:extLst>
    <p:ext uri="{DCECCB84-F9BA-43D5-87BE-67443E8EF086}">
      <p15:sldGuideLst xmlns:p15="http://schemas.microsoft.com/office/powerpoint/2012/main">
        <p15:guide id="1" orient="horz" pos="2386">
          <p15:clr>
            <a:srgbClr val="FBAE40"/>
          </p15:clr>
        </p15:guide>
        <p15:guide id="2" pos="2972">
          <p15:clr>
            <a:srgbClr val="FBAE40"/>
          </p15:clr>
        </p15:guide>
        <p15:guide id="3" pos="5232">
          <p15:clr>
            <a:srgbClr val="FBAE40"/>
          </p15:clr>
        </p15:guide>
        <p15:guide id="4" pos="5530">
          <p15:clr>
            <a:srgbClr val="FBAE40"/>
          </p15:clr>
        </p15:guide>
        <p15:guide id="5" pos="458">
          <p15:clr>
            <a:srgbClr val="FBAE40"/>
          </p15:clr>
        </p15:guide>
        <p15:guide id="6" pos="713">
          <p15:clr>
            <a:srgbClr val="FBAE40"/>
          </p15:clr>
        </p15:guide>
        <p15:guide id="7" orient="horz" pos="1068">
          <p15:clr>
            <a:srgbClr val="FBAE40"/>
          </p15:clr>
        </p15:guide>
        <p15:guide id="8" orient="horz" pos="590">
          <p15:clr>
            <a:srgbClr val="FBAE40"/>
          </p15:clr>
        </p15:guide>
        <p15:guide id="9" orient="horz" pos="4182">
          <p15:clr>
            <a:srgbClr val="FBAE40"/>
          </p15:clr>
        </p15:guide>
        <p15:guide id="10" orient="horz" pos="127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235BD2A1-988A-E548-A425-16C5F1BE1156}" type="datetime1">
              <a:rPr lang="en-IN" smtClean="0">
                <a:solidFill>
                  <a:srgbClr val="FFFFFF">
                    <a:lumMod val="50000"/>
                  </a:srgbClr>
                </a:solidFill>
              </a:rPr>
              <a:pPr/>
              <a:t>14-03-2024</a:t>
            </a:fld>
            <a:endParaRPr lang="en-US">
              <a:solidFill>
                <a:srgbClr val="FFFFFF">
                  <a:lumMod val="50000"/>
                </a:srgbClr>
              </a:solidFill>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82550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9C3CEF22-58D6-3D4E-A315-F13D1F9535E2}" type="datetime1">
              <a:rPr lang="en-IN" smtClean="0">
                <a:solidFill>
                  <a:srgbClr val="FFFFFF">
                    <a:lumMod val="50000"/>
                  </a:srgbClr>
                </a:solidFill>
              </a:rPr>
              <a:pPr/>
              <a:t>14-03-2024</a:t>
            </a:fld>
            <a:endParaRPr lang="en-US">
              <a:solidFill>
                <a:srgbClr val="FFFFFF">
                  <a:lumMod val="50000"/>
                </a:srgbClr>
              </a:solidFill>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85320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E4CC46BB-023A-0144-8991-4A2C249A570E}" type="datetime1">
              <a:rPr lang="en-IN" smtClean="0">
                <a:solidFill>
                  <a:srgbClr val="FFFFFF">
                    <a:lumMod val="50000"/>
                  </a:srgbClr>
                </a:solidFill>
              </a:rPr>
              <a:pPr/>
              <a:t>14-03-2024</a:t>
            </a:fld>
            <a:endParaRPr lang="en-US">
              <a:solidFill>
                <a:srgbClr val="FFFFFF">
                  <a:lumMod val="50000"/>
                </a:srgbClr>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92091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9CBF7D5-1A82-0D46-BAA3-CCC5F0B79EF5}" type="datetime1">
              <a:rPr lang="en-IN" smtClean="0">
                <a:solidFill>
                  <a:srgbClr val="FFFFFF"/>
                </a:solidFill>
              </a:rPr>
              <a:pPr/>
              <a:t>14-03-2024</a:t>
            </a:fld>
            <a:endParaRPr lang="en-US">
              <a:solidFill>
                <a:srgbClr val="FFFFFF"/>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anchor="ctr" anchorCtr="0">
            <a:noAutofit/>
          </a:bodyPr>
          <a:lstStyle>
            <a:lvl1pPr>
              <a:defRPr>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10013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E420EE26-C871-7148-ACB1-DE85CB34AE2F}" type="datetime1">
              <a:rPr lang="en-IN" smtClean="0">
                <a:solidFill>
                  <a:srgbClr val="FFFFFF">
                    <a:lumMod val="50000"/>
                  </a:srgbClr>
                </a:solidFill>
              </a:rPr>
              <a:pPr/>
              <a:t>14-03-2024</a:t>
            </a:fld>
            <a:endParaRPr lang="en-US">
              <a:solidFill>
                <a:srgbClr val="FFFFFF">
                  <a:lumMod val="50000"/>
                </a:srgbClr>
              </a:solidFill>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80293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87B7225E-9A17-874B-938C-B2BB2DCA7F8A}" type="datetime1">
              <a:rPr lang="en-IN" smtClean="0">
                <a:solidFill>
                  <a:srgbClr val="FFFFFF"/>
                </a:solidFill>
              </a:rPr>
              <a:pPr/>
              <a:t>14-03-2024</a:t>
            </a:fld>
            <a:endParaRPr lang="en-US">
              <a:solidFill>
                <a:srgbClr val="FFFFFF"/>
              </a:solidFill>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465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7CCD6E5D-1C1D-A445-8508-D5F176012A91}" type="datetime1">
              <a:rPr lang="en-IN" smtClean="0">
                <a:solidFill>
                  <a:srgbClr val="FFFFFF">
                    <a:lumMod val="50000"/>
                  </a:srgbClr>
                </a:solidFill>
              </a:rPr>
              <a:pPr/>
              <a:t>14-03-2024</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628636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53BBE70B-691E-EB4E-A5AE-2E381BCF8608}" type="datetime1">
              <a:rPr lang="en-IN" smtClean="0">
                <a:solidFill>
                  <a:srgbClr val="FFFFFF"/>
                </a:solidFill>
              </a:rPr>
              <a:pPr/>
              <a:t>14-03-2024</a:t>
            </a:fld>
            <a:endParaRPr lang="en-US">
              <a:solidFill>
                <a:srgbClr val="FFFFFF"/>
              </a:solidFill>
            </a:endParaRP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4868592" cy="664797"/>
          </a:xfrm>
        </p:spPr>
        <p:txBody>
          <a:bodyPr anchor="t"/>
          <a:lstStyle/>
          <a:p>
            <a:r>
              <a:rPr lang="en-US"/>
              <a:t>Click to edit Master title style</a:t>
            </a:r>
          </a:p>
        </p:txBody>
      </p:sp>
    </p:spTree>
    <p:extLst>
      <p:ext uri="{BB962C8B-B14F-4D97-AF65-F5344CB8AC3E}">
        <p14:creationId xmlns:p14="http://schemas.microsoft.com/office/powerpoint/2010/main" val="2266504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DD147F9B-9080-1949-912A-10E5E1E4B68B}" type="datetime1">
              <a:rPr lang="en-IN" smtClean="0">
                <a:solidFill>
                  <a:srgbClr val="FFFFFF">
                    <a:lumMod val="50000"/>
                  </a:srgbClr>
                </a:solidFill>
              </a:rPr>
              <a:pPr/>
              <a:t>14-03-2024</a:t>
            </a:fld>
            <a:endParaRPr lang="en-US">
              <a:solidFill>
                <a:srgbClr val="FFFFFF">
                  <a:lumMod val="50000"/>
                </a:srgb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p:cNvSpPr>
            <a:spLocks noGrp="1"/>
          </p:cNvSpPr>
          <p:nvPr>
            <p:ph type="title"/>
          </p:nvPr>
        </p:nvSpPr>
        <p:spPr>
          <a:xfrm>
            <a:off x="630000" y="622800"/>
            <a:ext cx="491736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906104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E1269F4C-7722-6A48-84AC-EE8954E9882F}" type="datetime1">
              <a:rPr lang="en-IN" smtClean="0">
                <a:solidFill>
                  <a:srgbClr val="FFFFFF"/>
                </a:solidFill>
              </a:rPr>
              <a:pPr/>
              <a:t>14-03-2024</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6971712" cy="664797"/>
          </a:xfrm>
        </p:spPr>
        <p:txBody>
          <a:bodyPr anchor="t"/>
          <a:lstStyle/>
          <a:p>
            <a:r>
              <a:rPr lang="en-US"/>
              <a:t>Click to edit Master title style</a:t>
            </a:r>
          </a:p>
        </p:txBody>
      </p:sp>
    </p:spTree>
    <p:extLst>
      <p:ext uri="{BB962C8B-B14F-4D97-AF65-F5344CB8AC3E}">
        <p14:creationId xmlns:p14="http://schemas.microsoft.com/office/powerpoint/2010/main" val="1569800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29"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30" name="Rectangle 29"/>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26"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16" name="Group 15"/>
          <p:cNvGrpSpPr/>
          <p:nvPr/>
        </p:nvGrpSpPr>
        <p:grpSpPr>
          <a:xfrm>
            <a:off x="5012098" y="292077"/>
            <a:ext cx="2127716" cy="2280707"/>
            <a:chOff x="5012098" y="292077"/>
            <a:chExt cx="2127716" cy="2280707"/>
          </a:xfrm>
        </p:grpSpPr>
        <p:pic>
          <p:nvPicPr>
            <p:cNvPr id="17"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9"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2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917736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1350D20B-1886-C447-92AC-32211493A607}" type="datetime1">
              <a:rPr lang="en-IN" smtClean="0">
                <a:solidFill>
                  <a:srgbClr val="FFFFFF">
                    <a:lumMod val="50000"/>
                  </a:srgbClr>
                </a:solidFill>
              </a:rPr>
              <a:pPr/>
              <a:t>14-03-2024</a:t>
            </a:fld>
            <a:endParaRPr lang="en-US">
              <a:solidFill>
                <a:srgbClr val="FFFFFF">
                  <a:lumMod val="50000"/>
                </a:srgbClr>
              </a:solidFill>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p:cNvSpPr>
            <a:spLocks noGrp="1"/>
          </p:cNvSpPr>
          <p:nvPr>
            <p:ph type="title"/>
          </p:nvPr>
        </p:nvSpPr>
        <p:spPr>
          <a:xfrm>
            <a:off x="630000" y="622800"/>
            <a:ext cx="7118016"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1782963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69059247-A03D-6044-B147-0B7056458373}" type="datetime1">
              <a:rPr lang="en-IN" smtClean="0">
                <a:solidFill>
                  <a:srgbClr val="FFFFFF"/>
                </a:solidFill>
              </a:rPr>
              <a:pPr/>
              <a:t>14-03-2024</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90409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fld id="{2F0E7CC7-8D41-8E4D-BCC7-CC3BF322F075}" type="datetime1">
              <a:rPr lang="en-IN" smtClean="0">
                <a:solidFill>
                  <a:srgbClr val="FFFFFF">
                    <a:lumMod val="50000"/>
                  </a:srgbClr>
                </a:solidFill>
              </a:rPr>
              <a:pPr/>
              <a:t>14-03-2024</a:t>
            </a:fld>
            <a:endParaRPr lang="en-US">
              <a:solidFill>
                <a:srgbClr val="FFFFFF">
                  <a:lumMod val="50000"/>
                </a:srgbClr>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accent6"/>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58969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fld id="{E35986CD-1991-4D42-97E4-F26AD8B2E5E3}" type="datetime1">
              <a:rPr lang="en-IN" smtClean="0">
                <a:solidFill>
                  <a:srgbClr val="FFFFFF"/>
                </a:solidFill>
              </a:rPr>
              <a:pPr/>
              <a:t>14-03-2024</a:t>
            </a:fld>
            <a:endParaRPr lang="en-US">
              <a:solidFill>
                <a:srgbClr val="FFFFFF"/>
              </a:solidFill>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609249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fld id="{CEDC7052-0EBB-8C4C-8B86-0FE8D6A0A9A3}" type="datetime1">
              <a:rPr lang="en-IN" smtClean="0">
                <a:solidFill>
                  <a:srgbClr val="FFFFFF"/>
                </a:solidFill>
              </a:rPr>
              <a:pPr/>
              <a:t>14-03-2024</a:t>
            </a:fld>
            <a:endParaRPr lang="en-US">
              <a:solidFill>
                <a:srgbClr val="FFFFFF"/>
              </a:solidFill>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622800"/>
            <a:ext cx="1093335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145843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9CBFB080-EE99-A84C-A308-4FE6B485C3A3}" type="datetime1">
              <a:rPr lang="en-IN" smtClean="0">
                <a:solidFill>
                  <a:srgbClr val="FFFFFF"/>
                </a:solidFill>
              </a:rPr>
              <a:pPr/>
              <a:t>14-03-2024</a:t>
            </a:fld>
            <a:endParaRPr lang="en-US">
              <a:solidFill>
                <a:srgbClr val="FFFFFF"/>
              </a:solidFill>
            </a:endParaRP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645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A4932DF8-8239-3246-BF71-FD443961F5B8}" type="datetime1">
              <a:rPr lang="en-IN" smtClean="0">
                <a:solidFill>
                  <a:srgbClr val="FFFFFF"/>
                </a:solidFill>
              </a:rPr>
              <a:pPr/>
              <a:t>14-03-2024</a:t>
            </a:fld>
            <a:endParaRPr lang="en-US">
              <a:solidFill>
                <a:srgbClr val="FFFFFF"/>
              </a:solidFill>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138971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fld id="{6F9DC07F-76C8-B74E-A58E-F3D669464FFE}" type="datetime1">
              <a:rPr lang="en-IN" smtClean="0">
                <a:solidFill>
                  <a:srgbClr val="FFFFFF">
                    <a:lumMod val="50000"/>
                  </a:srgbClr>
                </a:solidFill>
              </a:rPr>
              <a:pPr/>
              <a:t>14-03-2024</a:t>
            </a:fld>
            <a:endParaRPr lang="en-US">
              <a:solidFill>
                <a:srgbClr val="FFFFFF">
                  <a:lumMod val="50000"/>
                </a:srgbClr>
              </a:solidFill>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1610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mn-lt"/>
              </a:defRPr>
            </a:lvl1pPr>
          </a:lstStyle>
          <a:p>
            <a:fld id="{20FC2500-531C-B547-8B45-071972EDC3C7}" type="datetime1">
              <a:rPr lang="en-IN" smtClean="0">
                <a:solidFill>
                  <a:srgbClr val="FFFFFF">
                    <a:lumMod val="50000"/>
                  </a:srgbClr>
                </a:solidFill>
              </a:rPr>
              <a:pPr/>
              <a:t>14-03-2024</a:t>
            </a:fld>
            <a:endParaRPr lang="en-US">
              <a:solidFill>
                <a:srgbClr val="FFFFFF">
                  <a:lumMod val="50000"/>
                </a:srgbClr>
              </a:solidFill>
            </a:endParaRPr>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17375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7"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8" name="Group 17"/>
          <p:cNvGrpSpPr/>
          <p:nvPr/>
        </p:nvGrpSpPr>
        <p:grpSpPr>
          <a:xfrm>
            <a:off x="5012098" y="292077"/>
            <a:ext cx="2127716" cy="2280707"/>
            <a:chOff x="5012098" y="292077"/>
            <a:chExt cx="2127716" cy="2280707"/>
          </a:xfrm>
        </p:grpSpPr>
        <p:pic>
          <p:nvPicPr>
            <p:cNvPr id="19"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0"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3786589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F7C32F24-8062-4E40-8E62-B6AE5565B2DD}" type="datetimeFigureOut">
              <a:rPr lang="en-US" smtClean="0"/>
              <a:t>3/14/2024</a:t>
            </a:fld>
            <a:endParaRPr lang="en-US"/>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1"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5" name="Title 4"/>
          <p:cNvSpPr>
            <a:spLocks noGrp="1"/>
          </p:cNvSpPr>
          <p:nvPr>
            <p:ph type="title"/>
          </p:nvPr>
        </p:nvSpPr>
        <p:spPr>
          <a:xfrm>
            <a:off x="1672683" y="484301"/>
            <a:ext cx="9902282" cy="941796"/>
          </a:xfrm>
        </p:spPr>
        <p:txBody>
          <a:bodyPr anchor="t">
            <a:noAutofit/>
          </a:bodyPr>
          <a:lstStyle>
            <a:lvl1pPr>
              <a:defRPr sz="3400" baseline="0"/>
            </a:lvl1pPr>
          </a:lstStyle>
          <a:p>
            <a:r>
              <a:rPr lang="en-US"/>
              <a:t>Click to edit Master title style</a:t>
            </a:r>
          </a:p>
        </p:txBody>
      </p:sp>
    </p:spTree>
    <p:extLst>
      <p:ext uri="{BB962C8B-B14F-4D97-AF65-F5344CB8AC3E}">
        <p14:creationId xmlns:p14="http://schemas.microsoft.com/office/powerpoint/2010/main" val="3867685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2807B6B1-AD30-7947-8E50-C5ADBF6F1255}" type="datetime1">
              <a:rPr lang="en-IN" smtClean="0">
                <a:solidFill>
                  <a:srgbClr val="FFFFFF">
                    <a:lumMod val="50000"/>
                  </a:srgbClr>
                </a:solidFill>
              </a:rPr>
              <a:pPr/>
              <a:t>14-03-2024</a:t>
            </a:fld>
            <a:endParaRPr lang="en-US">
              <a:solidFill>
                <a:srgbClr val="FFFFFF">
                  <a:lumMod val="50000"/>
                </a:srgbClr>
              </a:solidFill>
            </a:endParaRPr>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622720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9"/>
            <a:ext cx="3448800" cy="3609937"/>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472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402745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itle 1"/>
          <p:cNvSpPr txBox="1">
            <a:spLocks/>
          </p:cNvSpPr>
          <p:nvPr/>
        </p:nvSpPr>
        <p:spPr>
          <a:xfrm>
            <a:off x="630000" y="719749"/>
            <a:ext cx="7189998" cy="47089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99306"/>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8972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54643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invGray">
          <a:xfrm>
            <a:off x="1388145" y="4691187"/>
            <a:ext cx="929337" cy="995874"/>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schemeClr val="tx2"/>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chemeClr val="tx2"/>
              </a:solidFill>
              <a:latin typeface="+mn-lt"/>
              <a:ea typeface="+mn-ea"/>
              <a:cs typeface="+mn-cs"/>
              <a:sym typeface="+mn-lt"/>
            </a:endParaRPr>
          </a:p>
        </p:txBody>
      </p:sp>
      <p:sp>
        <p:nvSpPr>
          <p:cNvPr id="11" name="TextBox 10"/>
          <p:cNvSpPr txBox="1"/>
          <p:nvPr/>
        </p:nvSpPr>
        <p:spPr>
          <a:xfrm>
            <a:off x="630000" y="907198"/>
            <a:ext cx="3448800" cy="3609938"/>
          </a:xfrm>
          <a:prstGeom prst="rect">
            <a:avLst/>
          </a:prstGeom>
          <a:noFill/>
          <a:ln>
            <a:solidFill>
              <a:schemeClr val="accent6"/>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accent6"/>
                </a:solidFill>
                <a:latin typeface="+mn-lt"/>
                <a:ea typeface="+mn-ea"/>
                <a:cs typeface="+mn-cs"/>
                <a:sym typeface="+mn-lt"/>
              </a:rPr>
              <a:t>Agenda</a:t>
            </a:r>
          </a:p>
        </p:txBody>
      </p:sp>
    </p:spTree>
    <p:extLst>
      <p:ext uri="{BB962C8B-B14F-4D97-AF65-F5344CB8AC3E}">
        <p14:creationId xmlns:p14="http://schemas.microsoft.com/office/powerpoint/2010/main" val="26509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white">
          <a:xfrm>
            <a:off x="1284743" y="1428131"/>
            <a:ext cx="947672" cy="947672"/>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9055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7" name="Title 1"/>
          <p:cNvSpPr txBox="1">
            <a:spLocks/>
          </p:cNvSpPr>
          <p:nvPr/>
        </p:nvSpPr>
        <p:spPr>
          <a:xfrm>
            <a:off x="630000" y="622800"/>
            <a:ext cx="7189998" cy="664797"/>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a:solidFill>
                  <a:schemeClr val="accent6"/>
                </a:solidFill>
                <a:latin typeface="+mn-lt"/>
                <a:ea typeface="+mn-ea"/>
                <a:cs typeface="+mn-cs"/>
                <a:sym typeface="+mn-lt"/>
              </a:rPr>
              <a:t>Agenda</a:t>
            </a:r>
          </a:p>
        </p:txBody>
      </p:sp>
      <p:cxnSp>
        <p:nvCxnSpPr>
          <p:cNvPr id="8" name="Straight Connector 7"/>
          <p:cNvCxnSpPr/>
          <p:nvPr/>
        </p:nvCxnSpPr>
        <p:spPr bwMode="white">
          <a:xfrm>
            <a:off x="618898" y="1299306"/>
            <a:ext cx="11576304" cy="0"/>
          </a:xfrm>
          <a:prstGeom prst="line">
            <a:avLst/>
          </a:prstGeom>
          <a:ln w="9525" cap="flat" cmpd="sng" algn="ctr">
            <a:solidFill>
              <a:srgbClr val="5A225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3113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558525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7216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F7C32F24-8062-4E40-8E62-B6AE5565B2DD}" type="datetimeFigureOut">
              <a:rPr lang="en-US" smtClean="0"/>
              <a:t>3/14/2024</a:t>
            </a:fld>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76174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33246-591F-47EF-A447-F2870F682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24DA1A-2C70-412E-9356-94E1005F06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1A5F56-CA45-4E1D-907B-334A8266496B}"/>
              </a:ext>
            </a:extLst>
          </p:cNvPr>
          <p:cNvSpPr>
            <a:spLocks noGrp="1"/>
          </p:cNvSpPr>
          <p:nvPr>
            <p:ph type="dt" sz="half" idx="10"/>
          </p:nvPr>
        </p:nvSpPr>
        <p:spPr/>
        <p:txBody>
          <a:bodyPr/>
          <a:lstStyle/>
          <a:p>
            <a:fld id="{F7C32F24-8062-4E40-8E62-B6AE5565B2DD}" type="datetimeFigureOut">
              <a:rPr lang="en-US" smtClean="0"/>
              <a:t>3/14/2024</a:t>
            </a:fld>
            <a:endParaRPr lang="en-US"/>
          </a:p>
        </p:txBody>
      </p:sp>
      <p:sp>
        <p:nvSpPr>
          <p:cNvPr id="5" name="Footer Placeholder 4">
            <a:extLst>
              <a:ext uri="{FF2B5EF4-FFF2-40B4-BE49-F238E27FC236}">
                <a16:creationId xmlns:a16="http://schemas.microsoft.com/office/drawing/2014/main" id="{B4B10AD3-06AA-4BBF-9669-A5080494F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AE318-F73E-42C1-BC6F-D08DFE22F257}"/>
              </a:ext>
            </a:extLst>
          </p:cNvPr>
          <p:cNvSpPr>
            <a:spLocks noGrp="1"/>
          </p:cNvSpPr>
          <p:nvPr>
            <p:ph type="sldNum" sz="quarter" idx="12"/>
          </p:nvPr>
        </p:nvSpPr>
        <p:spPr/>
        <p:txBody>
          <a:bodyPr/>
          <a:lstStyle/>
          <a:p>
            <a:fld id="{967FD74F-803C-4557-9630-5CAE2CFBFEA0}" type="slidenum">
              <a:rPr lang="en-US" smtClean="0"/>
              <a:t>‹#›</a:t>
            </a:fld>
            <a:endParaRPr lang="en-US"/>
          </a:p>
        </p:txBody>
      </p:sp>
    </p:spTree>
    <p:extLst>
      <p:ext uri="{BB962C8B-B14F-4D97-AF65-F5344CB8AC3E}">
        <p14:creationId xmlns:p14="http://schemas.microsoft.com/office/powerpoint/2010/main" val="39771642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2618298615"/>
      </p:ext>
    </p:extLst>
  </p:cSld>
  <p:clrMapOvr>
    <a:overrideClrMapping bg1="lt1" tx1="dk1" bg2="lt2" tx2="dk2" accent1="accent1" accent2="accent2" accent3="accent3" accent4="accent4" accent5="accent5" accent6="accent6" hlink="hlink" folHlink="folHlink"/>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14/03/2024</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79750413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14/03/2024</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3029204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14/03/2024</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10679840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14/03/2024</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4189515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14/03/2024</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9508546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14/03/2024</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1618099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14/03/2024</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0162543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14/03/2024</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192765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768139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pPr/>
              <a:t>14/03/2024</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71232580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pPr/>
              <a:t>14/03/2024</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367399531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pPr/>
              <a:t>14/03/2024</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7297305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pPr/>
              <a:t>14/03/2024</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3239729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397731733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Anfangsfolie (ohne Nummerierung)">
    <p:spTree>
      <p:nvGrpSpPr>
        <p:cNvPr id="1" name=""/>
        <p:cNvGrpSpPr/>
        <p:nvPr/>
      </p:nvGrpSpPr>
      <p:grpSpPr>
        <a:xfrm>
          <a:off x="0" y="0"/>
          <a:ext cx="0" cy="0"/>
          <a:chOff x="0" y="0"/>
          <a:chExt cx="0" cy="0"/>
        </a:xfrm>
      </p:grpSpPr>
      <p:sp>
        <p:nvSpPr>
          <p:cNvPr id="2" name="Titel 1"/>
          <p:cNvSpPr>
            <a:spLocks noGrp="1"/>
          </p:cNvSpPr>
          <p:nvPr>
            <p:ph type="title"/>
          </p:nvPr>
        </p:nvSpPr>
        <p:spPr>
          <a:xfrm>
            <a:off x="418322" y="1867356"/>
            <a:ext cx="10515600" cy="1325563"/>
          </a:xfrm>
          <a:prstGeom prst="rect">
            <a:avLst/>
          </a:prstGeom>
        </p:spPr>
        <p:txBody>
          <a:bodyPr/>
          <a:lstStyle>
            <a:lvl1pPr>
              <a:defRPr b="0" cap="all" baseline="0">
                <a:solidFill>
                  <a:schemeClr val="accent1">
                    <a:lumMod val="50000"/>
                  </a:schemeClr>
                </a:solidFill>
                <a:latin typeface="+mn-lt"/>
              </a:defRPr>
            </a:lvl1pPr>
          </a:lstStyle>
          <a:p>
            <a:r>
              <a:rPr lang="de-DE"/>
              <a:t>Titelmasterformat durch Klicken bearbeiten</a:t>
            </a:r>
          </a:p>
        </p:txBody>
      </p:sp>
    </p:spTree>
    <p:extLst>
      <p:ext uri="{BB962C8B-B14F-4D97-AF65-F5344CB8AC3E}">
        <p14:creationId xmlns:p14="http://schemas.microsoft.com/office/powerpoint/2010/main" val="119489582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Zwischenüberschrift Variante 1 (mit Nummerierung)">
    <p:spTree>
      <p:nvGrpSpPr>
        <p:cNvPr id="1" name=""/>
        <p:cNvGrpSpPr/>
        <p:nvPr/>
      </p:nvGrpSpPr>
      <p:grpSpPr>
        <a:xfrm>
          <a:off x="0" y="0"/>
          <a:ext cx="0" cy="0"/>
          <a:chOff x="0" y="0"/>
          <a:chExt cx="0" cy="0"/>
        </a:xfrm>
      </p:grpSpPr>
      <p:pic>
        <p:nvPicPr>
          <p:cNvPr id="4" name="Bild 1" descr="visual_softWAVE-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4151"/>
            <a:ext cx="12206545" cy="5724430"/>
          </a:xfrm>
          <a:prstGeom prst="rect">
            <a:avLst/>
          </a:prstGeom>
        </p:spPr>
      </p:pic>
      <p:sp>
        <p:nvSpPr>
          <p:cNvPr id="2" name="Titel 1"/>
          <p:cNvSpPr>
            <a:spLocks noGrp="1"/>
          </p:cNvSpPr>
          <p:nvPr>
            <p:ph type="title"/>
          </p:nvPr>
        </p:nvSpPr>
        <p:spPr>
          <a:xfrm>
            <a:off x="418322" y="1867356"/>
            <a:ext cx="10515600" cy="1325563"/>
          </a:xfrm>
          <a:prstGeom prst="rect">
            <a:avLst/>
          </a:prstGeom>
        </p:spPr>
        <p:txBody>
          <a:bodyPr/>
          <a:lstStyle>
            <a:lvl1pPr>
              <a:defRPr b="0" cap="all" baseline="0">
                <a:solidFill>
                  <a:schemeClr val="accent1">
                    <a:lumMod val="50000"/>
                  </a:schemeClr>
                </a:solidFill>
                <a:latin typeface="+mn-lt"/>
              </a:defRPr>
            </a:lvl1pPr>
          </a:lstStyle>
          <a:p>
            <a:r>
              <a:rPr lang="de-DE"/>
              <a:t>Titelmasterformat durch Klicken bearbeiten</a:t>
            </a:r>
          </a:p>
        </p:txBody>
      </p:sp>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spTree>
    <p:extLst>
      <p:ext uri="{BB962C8B-B14F-4D97-AF65-F5344CB8AC3E}">
        <p14:creationId xmlns:p14="http://schemas.microsoft.com/office/powerpoint/2010/main" val="321889161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Zwischenüberschrift Variante 2 (mit Nummerierung)">
    <p:spTree>
      <p:nvGrpSpPr>
        <p:cNvPr id="1" name=""/>
        <p:cNvGrpSpPr/>
        <p:nvPr/>
      </p:nvGrpSpPr>
      <p:grpSpPr>
        <a:xfrm>
          <a:off x="0" y="0"/>
          <a:ext cx="0" cy="0"/>
          <a:chOff x="0" y="0"/>
          <a:chExt cx="0" cy="0"/>
        </a:xfrm>
      </p:grpSpPr>
      <p:pic>
        <p:nvPicPr>
          <p:cNvPr id="4" name="Bild 1" descr="visual_softWAVE-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34626"/>
            <a:ext cx="12206545" cy="5724430"/>
          </a:xfrm>
          <a:prstGeom prst="rect">
            <a:avLst/>
          </a:prstGeom>
        </p:spPr>
      </p:pic>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sp>
        <p:nvSpPr>
          <p:cNvPr id="5" name="Titel 1"/>
          <p:cNvSpPr>
            <a:spLocks noGrp="1"/>
          </p:cNvSpPr>
          <p:nvPr>
            <p:ph type="title"/>
          </p:nvPr>
        </p:nvSpPr>
        <p:spPr>
          <a:xfrm>
            <a:off x="342512" y="284778"/>
            <a:ext cx="10515600" cy="1134448"/>
          </a:xfrm>
          <a:prstGeom prst="rect">
            <a:avLst/>
          </a:prstGeom>
        </p:spPr>
        <p:txBody>
          <a:bodyPr/>
          <a:lstStyle>
            <a:lvl1pPr>
              <a:defRPr sz="2800" b="0" cap="all" baseline="0">
                <a:solidFill>
                  <a:schemeClr val="accent1">
                    <a:lumMod val="50000"/>
                  </a:schemeClr>
                </a:solidFill>
                <a:latin typeface="+mn-lt"/>
              </a:defRPr>
            </a:lvl1pPr>
          </a:lstStyle>
          <a:p>
            <a:r>
              <a:rPr lang="de-DE"/>
              <a:t>Titelmasterformat durch Klicken bearbeiten</a:t>
            </a:r>
          </a:p>
        </p:txBody>
      </p:sp>
      <p:cxnSp>
        <p:nvCxnSpPr>
          <p:cNvPr id="6" name="Gerader Verbinder 5"/>
          <p:cNvCxnSpPr/>
          <p:nvPr userDrawn="1"/>
        </p:nvCxnSpPr>
        <p:spPr>
          <a:xfrm>
            <a:off x="0" y="781050"/>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55192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 Inhlatsfolie (mit Nummerierung)">
    <p:spTree>
      <p:nvGrpSpPr>
        <p:cNvPr id="1" name=""/>
        <p:cNvGrpSpPr/>
        <p:nvPr/>
      </p:nvGrpSpPr>
      <p:grpSpPr>
        <a:xfrm>
          <a:off x="0" y="0"/>
          <a:ext cx="0" cy="0"/>
          <a:chOff x="0" y="0"/>
          <a:chExt cx="0" cy="0"/>
        </a:xfrm>
      </p:grpSpPr>
      <p:sp>
        <p:nvSpPr>
          <p:cNvPr id="2" name="Titel 1"/>
          <p:cNvSpPr>
            <a:spLocks noGrp="1"/>
          </p:cNvSpPr>
          <p:nvPr>
            <p:ph type="title"/>
          </p:nvPr>
        </p:nvSpPr>
        <p:spPr>
          <a:xfrm>
            <a:off x="342512" y="284777"/>
            <a:ext cx="10515600" cy="1143973"/>
          </a:xfrm>
          <a:prstGeom prst="rect">
            <a:avLst/>
          </a:prstGeom>
        </p:spPr>
        <p:txBody>
          <a:bodyPr/>
          <a:lstStyle>
            <a:lvl1pPr>
              <a:defRPr sz="2800" b="0" cap="all" baseline="0">
                <a:solidFill>
                  <a:schemeClr val="accent1">
                    <a:lumMod val="50000"/>
                  </a:schemeClr>
                </a:solidFill>
                <a:latin typeface="+mn-lt"/>
              </a:defRPr>
            </a:lvl1pPr>
          </a:lstStyle>
          <a:p>
            <a:r>
              <a:rPr lang="de-DE"/>
              <a:t>Titelmasterformat durch Klicken bearbeiten</a:t>
            </a:r>
          </a:p>
        </p:txBody>
      </p:sp>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cxnSp>
        <p:nvCxnSpPr>
          <p:cNvPr id="5" name="Gerader Verbinder 4"/>
          <p:cNvCxnSpPr/>
          <p:nvPr userDrawn="1"/>
        </p:nvCxnSpPr>
        <p:spPr>
          <a:xfrm>
            <a:off x="0" y="781050"/>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96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 Leere Folie (mit Nummerierung)">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a:xfrm>
            <a:off x="11485978" y="6492875"/>
            <a:ext cx="520961" cy="365125"/>
          </a:xfrm>
          <a:prstGeom prst="rect">
            <a:avLst/>
          </a:prstGeom>
        </p:spPr>
        <p:txBody>
          <a:bodyPr/>
          <a:lstStyle/>
          <a:p>
            <a:fld id="{7D29B104-3C2C-4818-82EB-DCED3E5226D3}" type="slidenum">
              <a:rPr lang="de-DE" smtClean="0"/>
              <a:t>‹#›</a:t>
            </a:fld>
            <a:endParaRPr lang="de-DE"/>
          </a:p>
        </p:txBody>
      </p:sp>
    </p:spTree>
    <p:extLst>
      <p:ext uri="{BB962C8B-B14F-4D97-AF65-F5344CB8AC3E}">
        <p14:creationId xmlns:p14="http://schemas.microsoft.com/office/powerpoint/2010/main" val="38296984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0828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sp>
        <p:nvSpPr>
          <p:cNvPr id="8" name="Rectangle 7">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1633092205"/>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19" name="Picture 18">
            <a:extLst>
              <a:ext uri="{FF2B5EF4-FFF2-40B4-BE49-F238E27FC236}">
                <a16:creationId xmlns:a16="http://schemas.microsoft.com/office/drawing/2014/main" id="{3C4BF1E6-2CAC-491E-94E0-E3B659DFB59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373"/>
          <a:stretch/>
        </p:blipFill>
        <p:spPr>
          <a:xfrm>
            <a:off x="0" y="-27384"/>
            <a:ext cx="3556000" cy="5992754"/>
          </a:xfrm>
          <a:custGeom>
            <a:avLst/>
            <a:gdLst>
              <a:gd name="connsiteX0" fmla="*/ 0 w 3556000"/>
              <a:gd name="connsiteY0" fmla="*/ 0 h 5992754"/>
              <a:gd name="connsiteX1" fmla="*/ 3556000 w 3556000"/>
              <a:gd name="connsiteY1" fmla="*/ 0 h 5992754"/>
              <a:gd name="connsiteX2" fmla="*/ 3556000 w 3556000"/>
              <a:gd name="connsiteY2" fmla="*/ 5992754 h 5992754"/>
              <a:gd name="connsiteX3" fmla="*/ 0 w 3556000"/>
              <a:gd name="connsiteY3" fmla="*/ 5992754 h 5992754"/>
            </a:gdLst>
            <a:ahLst/>
            <a:cxnLst>
              <a:cxn ang="0">
                <a:pos x="connsiteX0" y="connsiteY0"/>
              </a:cxn>
              <a:cxn ang="0">
                <a:pos x="connsiteX1" y="connsiteY1"/>
              </a:cxn>
              <a:cxn ang="0">
                <a:pos x="connsiteX2" y="connsiteY2"/>
              </a:cxn>
              <a:cxn ang="0">
                <a:pos x="connsiteX3" y="connsiteY3"/>
              </a:cxn>
            </a:cxnLst>
            <a:rect l="l" t="t" r="r" b="b"/>
            <a:pathLst>
              <a:path w="3556000" h="5992754">
                <a:moveTo>
                  <a:pt x="0" y="0"/>
                </a:moveTo>
                <a:lnTo>
                  <a:pt x="3556000" y="0"/>
                </a:lnTo>
                <a:lnTo>
                  <a:pt x="3556000" y="5992754"/>
                </a:lnTo>
                <a:lnTo>
                  <a:pt x="0" y="5992754"/>
                </a:lnTo>
                <a:close/>
              </a:path>
            </a:pathLst>
          </a:custGeom>
        </p:spPr>
      </p:pic>
    </p:spTree>
    <p:extLst>
      <p:ext uri="{BB962C8B-B14F-4D97-AF65-F5344CB8AC3E}">
        <p14:creationId xmlns:p14="http://schemas.microsoft.com/office/powerpoint/2010/main" val="1323680757"/>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Tree>
    <p:extLst>
      <p:ext uri="{BB962C8B-B14F-4D97-AF65-F5344CB8AC3E}">
        <p14:creationId xmlns:p14="http://schemas.microsoft.com/office/powerpoint/2010/main" val="159596635"/>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hapter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pl-PL" sz="88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6ECC4FC3-1C5D-44CD-BF5C-5BD34AF5B30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5400"/>
            <a:ext cx="12192001" cy="6053169"/>
          </a:xfrm>
          <a:prstGeom prst="rect">
            <a:avLst/>
          </a:prstGeom>
        </p:spPr>
      </p:pic>
      <p:sp>
        <p:nvSpPr>
          <p:cNvPr id="10" name="Title Placeholder 2"/>
          <p:cNvSpPr>
            <a:spLocks noGrp="1" noChangeArrowheads="1"/>
          </p:cNvSpPr>
          <p:nvPr>
            <p:ph type="title" hasCustomPrompt="1"/>
          </p:nvPr>
        </p:nvSpPr>
        <p:spPr bwMode="gray">
          <a:xfrm>
            <a:off x="609600" y="2367354"/>
            <a:ext cx="10972800"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8800"/>
            </a:lvl1pPr>
          </a:lstStyle>
          <a:p>
            <a:pPr lvl="0" latinLnBrk="0"/>
            <a:r>
              <a:rPr lang="pl-PL"/>
              <a:t>Chapter 1</a:t>
            </a:r>
            <a:endParaRPr lang="en-US" noProof="0"/>
          </a:p>
        </p:txBody>
      </p:sp>
    </p:spTree>
    <p:extLst>
      <p:ext uri="{BB962C8B-B14F-4D97-AF65-F5344CB8AC3E}">
        <p14:creationId xmlns:p14="http://schemas.microsoft.com/office/powerpoint/2010/main" val="3872762103"/>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F5732-9390-490D-8536-7C8361D5B6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CA1EDF-F836-40C7-9EAD-F3C6106620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170014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sp>
        <p:nvSpPr>
          <p:cNvPr id="8" name="Rectangle 7">
            <a:extLst>
              <a:ext uri="{FF2B5EF4-FFF2-40B4-BE49-F238E27FC236}">
                <a16:creationId xmlns:a16="http://schemas.microsoft.com/office/drawing/2014/main" id="{1F446AC8-9F05-47D8-967B-4948A7D620B6}"/>
              </a:ext>
            </a:extLst>
          </p:cNvPr>
          <p:cNvSpPr>
            <a:spLocks/>
          </p:cNvSpPr>
          <p:nvPr userDrawn="1"/>
        </p:nvSpPr>
        <p:spPr bwMode="gray">
          <a:xfrm>
            <a:off x="0" y="0"/>
            <a:ext cx="3556000" cy="59653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3337523382"/>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grpSp>
        <p:nvGrpSpPr>
          <p:cNvPr id="10" name="Group 9">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a:extLst>
              <a:ext uri="{FF2B5EF4-FFF2-40B4-BE49-F238E27FC236}">
                <a16:creationId xmlns:a16="http://schemas.microsoft.com/office/drawing/2014/main" id="{6D1DC820-8441-49F6-95C3-B575A21592C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0" b="50"/>
          <a:stretch/>
        </p:blipFill>
        <p:spPr bwMode="gray">
          <a:xfrm>
            <a:off x="623393" y="6108272"/>
            <a:ext cx="2483178" cy="633097"/>
          </a:xfrm>
          <a:prstGeom prst="rect">
            <a:avLst/>
          </a:prstGeom>
        </p:spPr>
      </p:pic>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19" name="Picture 18">
            <a:extLst>
              <a:ext uri="{FF2B5EF4-FFF2-40B4-BE49-F238E27FC236}">
                <a16:creationId xmlns:a16="http://schemas.microsoft.com/office/drawing/2014/main" id="{3C4BF1E6-2CAC-491E-94E0-E3B659DFB59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373"/>
          <a:stretch/>
        </p:blipFill>
        <p:spPr>
          <a:xfrm>
            <a:off x="0" y="-27384"/>
            <a:ext cx="3556000" cy="5992754"/>
          </a:xfrm>
          <a:custGeom>
            <a:avLst/>
            <a:gdLst>
              <a:gd name="connsiteX0" fmla="*/ 0 w 3556000"/>
              <a:gd name="connsiteY0" fmla="*/ 0 h 5992754"/>
              <a:gd name="connsiteX1" fmla="*/ 3556000 w 3556000"/>
              <a:gd name="connsiteY1" fmla="*/ 0 h 5992754"/>
              <a:gd name="connsiteX2" fmla="*/ 3556000 w 3556000"/>
              <a:gd name="connsiteY2" fmla="*/ 5992754 h 5992754"/>
              <a:gd name="connsiteX3" fmla="*/ 0 w 3556000"/>
              <a:gd name="connsiteY3" fmla="*/ 5992754 h 5992754"/>
            </a:gdLst>
            <a:ahLst/>
            <a:cxnLst>
              <a:cxn ang="0">
                <a:pos x="connsiteX0" y="connsiteY0"/>
              </a:cxn>
              <a:cxn ang="0">
                <a:pos x="connsiteX1" y="connsiteY1"/>
              </a:cxn>
              <a:cxn ang="0">
                <a:pos x="connsiteX2" y="connsiteY2"/>
              </a:cxn>
              <a:cxn ang="0">
                <a:pos x="connsiteX3" y="connsiteY3"/>
              </a:cxn>
            </a:cxnLst>
            <a:rect l="l" t="t" r="r" b="b"/>
            <a:pathLst>
              <a:path w="3556000" h="5992754">
                <a:moveTo>
                  <a:pt x="0" y="0"/>
                </a:moveTo>
                <a:lnTo>
                  <a:pt x="3556000" y="0"/>
                </a:lnTo>
                <a:lnTo>
                  <a:pt x="3556000" y="5992754"/>
                </a:lnTo>
                <a:lnTo>
                  <a:pt x="0" y="5992754"/>
                </a:lnTo>
                <a:close/>
              </a:path>
            </a:pathLst>
          </a:custGeom>
        </p:spPr>
      </p:pic>
    </p:spTree>
    <p:extLst>
      <p:ext uri="{BB962C8B-B14F-4D97-AF65-F5344CB8AC3E}">
        <p14:creationId xmlns:p14="http://schemas.microsoft.com/office/powerpoint/2010/main" val="2675133314"/>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Tree>
    <p:extLst>
      <p:ext uri="{BB962C8B-B14F-4D97-AF65-F5344CB8AC3E}">
        <p14:creationId xmlns:p14="http://schemas.microsoft.com/office/powerpoint/2010/main" val="648095727"/>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hapter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pl-PL" sz="88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6ECC4FC3-1C5D-44CD-BF5C-5BD34AF5B30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5400"/>
            <a:ext cx="12192001" cy="6053169"/>
          </a:xfrm>
          <a:prstGeom prst="rect">
            <a:avLst/>
          </a:prstGeom>
        </p:spPr>
      </p:pic>
      <p:sp>
        <p:nvSpPr>
          <p:cNvPr id="10" name="Title Placeholder 2"/>
          <p:cNvSpPr>
            <a:spLocks noGrp="1" noChangeArrowheads="1"/>
          </p:cNvSpPr>
          <p:nvPr>
            <p:ph type="title" hasCustomPrompt="1"/>
          </p:nvPr>
        </p:nvSpPr>
        <p:spPr bwMode="gray">
          <a:xfrm>
            <a:off x="609600" y="2367354"/>
            <a:ext cx="10972800"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8800"/>
            </a:lvl1pPr>
          </a:lstStyle>
          <a:p>
            <a:pPr lvl="0" latinLnBrk="0"/>
            <a:r>
              <a:rPr lang="pl-PL"/>
              <a:t>Chapter 1</a:t>
            </a:r>
            <a:endParaRPr lang="en-US" noProof="0"/>
          </a:p>
        </p:txBody>
      </p:sp>
    </p:spTree>
    <p:extLst>
      <p:ext uri="{BB962C8B-B14F-4D97-AF65-F5344CB8AC3E}">
        <p14:creationId xmlns:p14="http://schemas.microsoft.com/office/powerpoint/2010/main" val="3257387694"/>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F5732-9390-490D-8536-7C8361D5B6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CA1EDF-F836-40C7-9EAD-F3C6106620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1814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877560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3140502657"/>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sp>
        <p:nvSpPr>
          <p:cNvPr id="3" name="Forma libre 52">
            <a:extLst>
              <a:ext uri="{FF2B5EF4-FFF2-40B4-BE49-F238E27FC236}">
                <a16:creationId xmlns:a16="http://schemas.microsoft.com/office/drawing/2014/main" id="{588D54C6-6060-4EFD-B0A3-3A19C272912E}"/>
              </a:ext>
            </a:extLst>
          </p:cNvPr>
          <p:cNvSpPr/>
          <p:nvPr userDrawn="1"/>
        </p:nvSpPr>
        <p:spPr>
          <a:xfrm>
            <a:off x="590958" y="0"/>
            <a:ext cx="6234162" cy="4275244"/>
          </a:xfrm>
          <a:custGeom>
            <a:avLst/>
            <a:gdLst>
              <a:gd name="connsiteX0" fmla="*/ 224773 w 6234162"/>
              <a:gd name="connsiteY0" fmla="*/ 0 h 4275244"/>
              <a:gd name="connsiteX1" fmla="*/ 6009390 w 6234162"/>
              <a:gd name="connsiteY1" fmla="*/ 0 h 4275244"/>
              <a:gd name="connsiteX2" fmla="*/ 6094024 w 6234162"/>
              <a:gd name="connsiteY2" fmla="*/ 231240 h 4275244"/>
              <a:gd name="connsiteX3" fmla="*/ 6234162 w 6234162"/>
              <a:gd name="connsiteY3" fmla="*/ 1158164 h 4275244"/>
              <a:gd name="connsiteX4" fmla="*/ 3117081 w 6234162"/>
              <a:gd name="connsiteY4" fmla="*/ 4275244 h 4275244"/>
              <a:gd name="connsiteX5" fmla="*/ 0 w 6234162"/>
              <a:gd name="connsiteY5" fmla="*/ 1158164 h 4275244"/>
              <a:gd name="connsiteX6" fmla="*/ 140138 w 6234162"/>
              <a:gd name="connsiteY6" fmla="*/ 231240 h 427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4162" h="4275244">
                <a:moveTo>
                  <a:pt x="224773" y="0"/>
                </a:moveTo>
                <a:lnTo>
                  <a:pt x="6009390" y="0"/>
                </a:lnTo>
                <a:lnTo>
                  <a:pt x="6094024" y="231240"/>
                </a:lnTo>
                <a:cubicBezTo>
                  <a:pt x="6185099" y="524055"/>
                  <a:pt x="6234162" y="835380"/>
                  <a:pt x="6234162" y="1158164"/>
                </a:cubicBezTo>
                <a:cubicBezTo>
                  <a:pt x="6234162" y="2879680"/>
                  <a:pt x="4838597" y="4275244"/>
                  <a:pt x="3117081" y="4275244"/>
                </a:cubicBezTo>
                <a:cubicBezTo>
                  <a:pt x="1395565" y="4275244"/>
                  <a:pt x="0" y="2879680"/>
                  <a:pt x="0" y="1158164"/>
                </a:cubicBezTo>
                <a:cubicBezTo>
                  <a:pt x="0" y="835380"/>
                  <a:pt x="49063" y="524055"/>
                  <a:pt x="140138" y="231240"/>
                </a:cubicBez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4" name="Rectángulo 3">
            <a:extLst>
              <a:ext uri="{FF2B5EF4-FFF2-40B4-BE49-F238E27FC236}">
                <a16:creationId xmlns:a16="http://schemas.microsoft.com/office/drawing/2014/main" id="{8982829C-D174-4E44-A50A-27E2A5EF69B5}"/>
              </a:ext>
            </a:extLst>
          </p:cNvPr>
          <p:cNvSpPr/>
          <p:nvPr userDrawn="1"/>
        </p:nvSpPr>
        <p:spPr>
          <a:xfrm>
            <a:off x="596853" y="3928877"/>
            <a:ext cx="5751350" cy="2376673"/>
          </a:xfrm>
          <a:prstGeom prst="rect">
            <a:avLst/>
          </a:prstGeom>
          <a:noFill/>
          <a:ln w="12700" cap="flat" cmpd="sng" algn="ctr">
            <a:solidFill>
              <a:srgbClr val="5A2259">
                <a:alpha val="5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5" name="Conector recto 4">
            <a:extLst>
              <a:ext uri="{FF2B5EF4-FFF2-40B4-BE49-F238E27FC236}">
                <a16:creationId xmlns:a16="http://schemas.microsoft.com/office/drawing/2014/main" id="{07725686-1765-4D39-B5F5-091C7C9289CC}"/>
              </a:ext>
            </a:extLst>
          </p:cNvPr>
          <p:cNvCxnSpPr>
            <a:cxnSpLocks/>
          </p:cNvCxnSpPr>
          <p:nvPr userDrawn="1"/>
        </p:nvCxnSpPr>
        <p:spPr>
          <a:xfrm>
            <a:off x="949601" y="5322823"/>
            <a:ext cx="0" cy="566802"/>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6" name="Rectángulo 5">
            <a:extLst>
              <a:ext uri="{FF2B5EF4-FFF2-40B4-BE49-F238E27FC236}">
                <a16:creationId xmlns:a16="http://schemas.microsoft.com/office/drawing/2014/main" id="{61101015-A574-47DB-9B8C-4F865E76CCE5}"/>
              </a:ext>
            </a:extLst>
          </p:cNvPr>
          <p:cNvSpPr/>
          <p:nvPr userDrawn="1"/>
        </p:nvSpPr>
        <p:spPr>
          <a:xfrm>
            <a:off x="716255" y="382436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7" name="Rectángulo 6">
            <a:extLst>
              <a:ext uri="{FF2B5EF4-FFF2-40B4-BE49-F238E27FC236}">
                <a16:creationId xmlns:a16="http://schemas.microsoft.com/office/drawing/2014/main" id="{97651F23-9E3C-466E-872B-B5FA0E91F3DD}"/>
              </a:ext>
            </a:extLst>
          </p:cNvPr>
          <p:cNvSpPr/>
          <p:nvPr userDrawn="1"/>
        </p:nvSpPr>
        <p:spPr>
          <a:xfrm>
            <a:off x="0" y="888164"/>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4" name="Rectángulo 13">
            <a:extLst>
              <a:ext uri="{FF2B5EF4-FFF2-40B4-BE49-F238E27FC236}">
                <a16:creationId xmlns:a16="http://schemas.microsoft.com/office/drawing/2014/main" id="{78D57CF9-A3A0-4A36-AE0F-DA407CE9BD82}"/>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7" name="Forma libre: forma 16">
            <a:extLst>
              <a:ext uri="{FF2B5EF4-FFF2-40B4-BE49-F238E27FC236}">
                <a16:creationId xmlns:a16="http://schemas.microsoft.com/office/drawing/2014/main" id="{D22FDBD4-30A9-44A7-98A9-8439D09E051A}"/>
              </a:ext>
            </a:extLst>
          </p:cNvPr>
          <p:cNvSpPr>
            <a:spLocks noGrp="1"/>
          </p:cNvSpPr>
          <p:nvPr>
            <p:ph type="pic" sz="quarter" idx="10" hasCustomPrompt="1"/>
          </p:nvPr>
        </p:nvSpPr>
        <p:spPr bwMode="auto">
          <a:xfrm>
            <a:off x="4295778" y="0"/>
            <a:ext cx="7896225" cy="6858000"/>
          </a:xfrm>
          <a:custGeom>
            <a:avLst/>
            <a:gdLst>
              <a:gd name="connsiteX0" fmla="*/ 0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225" h="6858000">
                <a:moveTo>
                  <a:pt x="0" y="0"/>
                </a:moveTo>
                <a:lnTo>
                  <a:pt x="3429000" y="0"/>
                </a:lnTo>
                <a:lnTo>
                  <a:pt x="5805692" y="0"/>
                </a:lnTo>
                <a:lnTo>
                  <a:pt x="7896225" y="0"/>
                </a:lnTo>
                <a:lnTo>
                  <a:pt x="7896225" y="6858000"/>
                </a:lnTo>
                <a:lnTo>
                  <a:pt x="3429000" y="6858000"/>
                </a:lnTo>
                <a:cubicBezTo>
                  <a:pt x="1535217" y="6858000"/>
                  <a:pt x="0" y="5322784"/>
                  <a:pt x="0" y="3429000"/>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r>
              <a:rPr lang="en-GB"/>
              <a:t>Picture</a:t>
            </a:r>
          </a:p>
        </p:txBody>
      </p:sp>
      <p:sp>
        <p:nvSpPr>
          <p:cNvPr id="23" name="Marcador de texto 21">
            <a:extLst>
              <a:ext uri="{FF2B5EF4-FFF2-40B4-BE49-F238E27FC236}">
                <a16:creationId xmlns:a16="http://schemas.microsoft.com/office/drawing/2014/main" id="{D507B8B4-E19C-479C-9DE0-7123B3377FCD}"/>
              </a:ext>
            </a:extLst>
          </p:cNvPr>
          <p:cNvSpPr>
            <a:spLocks noGrp="1"/>
          </p:cNvSpPr>
          <p:nvPr>
            <p:ph type="body" sz="quarter" idx="12" hasCustomPrompt="1"/>
          </p:nvPr>
        </p:nvSpPr>
        <p:spPr>
          <a:xfrm>
            <a:off x="1093521" y="5781269"/>
            <a:ext cx="3953466" cy="497069"/>
          </a:xfrm>
        </p:spPr>
        <p:txBody>
          <a:bodyPr>
            <a:normAutofit/>
          </a:bodyPr>
          <a:lstStyle>
            <a:lvl1pPr>
              <a:defRPr sz="1400" spc="100" baseline="0">
                <a:solidFill>
                  <a:srgbClr val="5A2259">
                    <a:alpha val="55000"/>
                  </a:srgbClr>
                </a:solidFill>
              </a:defRPr>
            </a:lvl1pPr>
          </a:lstStyle>
          <a:p>
            <a:pPr lvl="0"/>
            <a:r>
              <a:rPr lang="en-US" noProof="0"/>
              <a:t>Lorem ipsum dolor sit </a:t>
            </a:r>
            <a:r>
              <a:rPr lang="en-US" noProof="0" err="1"/>
              <a:t>amet</a:t>
            </a:r>
            <a:r>
              <a:rPr lang="en-US" noProof="0"/>
              <a:t> </a:t>
            </a:r>
            <a:r>
              <a:rPr lang="en-US" noProof="0" err="1"/>
              <a:t>consectetur</a:t>
            </a:r>
            <a:r>
              <a:rPr lang="en-US" noProof="0"/>
              <a:t> </a:t>
            </a:r>
            <a:r>
              <a:rPr lang="en-US" noProof="0" err="1"/>
              <a:t>adipiscing</a:t>
            </a:r>
            <a:r>
              <a:rPr lang="en-US" noProof="0"/>
              <a:t> </a:t>
            </a:r>
            <a:r>
              <a:rPr lang="en-US" noProof="0" err="1"/>
              <a:t>elit</a:t>
            </a:r>
            <a:endParaRPr lang="en-US" noProof="0"/>
          </a:p>
        </p:txBody>
      </p:sp>
      <p:sp>
        <p:nvSpPr>
          <p:cNvPr id="24" name="Título 17">
            <a:extLst>
              <a:ext uri="{FF2B5EF4-FFF2-40B4-BE49-F238E27FC236}">
                <a16:creationId xmlns:a16="http://schemas.microsoft.com/office/drawing/2014/main" id="{1DF1DE5B-FD30-4B66-8167-26428D83AFC6}"/>
              </a:ext>
            </a:extLst>
          </p:cNvPr>
          <p:cNvSpPr>
            <a:spLocks noGrp="1"/>
          </p:cNvSpPr>
          <p:nvPr>
            <p:ph type="title" hasCustomPrompt="1"/>
          </p:nvPr>
        </p:nvSpPr>
        <p:spPr>
          <a:xfrm>
            <a:off x="1093521" y="3986157"/>
            <a:ext cx="3132000" cy="831850"/>
          </a:xfrm>
          <a:prstGeom prst="rect">
            <a:avLst/>
          </a:prstGeom>
        </p:spPr>
        <p:txBody>
          <a:bodyPr anchor="b">
            <a:normAutofit/>
          </a:bodyPr>
          <a:lstStyle>
            <a:lvl1pPr>
              <a:lnSpc>
                <a:spcPts val="2700"/>
              </a:lnSpc>
              <a:defRPr sz="2800" b="0" cap="all" spc="300" baseline="0">
                <a:solidFill>
                  <a:srgbClr val="FFFFFF"/>
                </a:solidFill>
              </a:defRPr>
            </a:lvl1pPr>
          </a:lstStyle>
          <a:p>
            <a:r>
              <a:rPr lang="en-US" noProof="0"/>
              <a:t>Title of presentation</a:t>
            </a:r>
          </a:p>
        </p:txBody>
      </p:sp>
      <p:sp>
        <p:nvSpPr>
          <p:cNvPr id="25" name="Marcador de texto 19">
            <a:extLst>
              <a:ext uri="{FF2B5EF4-FFF2-40B4-BE49-F238E27FC236}">
                <a16:creationId xmlns:a16="http://schemas.microsoft.com/office/drawing/2014/main" id="{EB4A48CE-E482-4DB4-A38F-F21F03055772}"/>
              </a:ext>
            </a:extLst>
          </p:cNvPr>
          <p:cNvSpPr>
            <a:spLocks noGrp="1"/>
          </p:cNvSpPr>
          <p:nvPr>
            <p:ph type="body" sz="quarter" idx="11" hasCustomPrompt="1"/>
          </p:nvPr>
        </p:nvSpPr>
        <p:spPr>
          <a:xfrm>
            <a:off x="1093521" y="4819207"/>
            <a:ext cx="3132000" cy="831850"/>
          </a:xfrm>
        </p:spPr>
        <p:txBody>
          <a:bodyPr>
            <a:normAutofit/>
          </a:bodyPr>
          <a:lstStyle>
            <a:lvl1pPr>
              <a:lnSpc>
                <a:spcPts val="1760"/>
              </a:lnSpc>
              <a:spcBef>
                <a:spcPts val="0"/>
              </a:spcBef>
              <a:defRPr sz="1800" b="0">
                <a:solidFill>
                  <a:srgbClr val="FFFFFF">
                    <a:alpha val="85000"/>
                  </a:srgbClr>
                </a:solidFill>
                <a:latin typeface="Franklin Gothic Medium" panose="020B0603020102020204" pitchFamily="34" charset="0"/>
              </a:defRPr>
            </a:lvl1pPr>
          </a:lstStyle>
          <a:p>
            <a:pPr lvl="0"/>
            <a:r>
              <a:rPr lang="en-US" noProof="0"/>
              <a:t>Subtitle of presentation. </a:t>
            </a:r>
          </a:p>
        </p:txBody>
      </p:sp>
      <p:pic>
        <p:nvPicPr>
          <p:cNvPr id="12" name="Picture 2">
            <a:extLst>
              <a:ext uri="{FF2B5EF4-FFF2-40B4-BE49-F238E27FC236}">
                <a16:creationId xmlns:a16="http://schemas.microsoft.com/office/drawing/2014/main" id="{C8FE2267-F533-4049-A98E-29FD204DB16A}"/>
              </a:ext>
            </a:extLst>
          </p:cNvPr>
          <p:cNvPicPr>
            <a:picLocks noChangeAspect="1"/>
          </p:cNvPicPr>
          <p:nvPr userDrawn="1"/>
        </p:nvPicPr>
        <p:blipFill>
          <a:blip r:embed="rId2"/>
          <a:srcRect/>
          <a:stretch/>
        </p:blipFill>
        <p:spPr>
          <a:xfrm>
            <a:off x="577516" y="373821"/>
            <a:ext cx="3128209" cy="1564105"/>
          </a:xfrm>
          <a:prstGeom prst="rect">
            <a:avLst/>
          </a:prstGeom>
        </p:spPr>
      </p:pic>
    </p:spTree>
    <p:extLst>
      <p:ext uri="{BB962C8B-B14F-4D97-AF65-F5344CB8AC3E}">
        <p14:creationId xmlns:p14="http://schemas.microsoft.com/office/powerpoint/2010/main" val="395300080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30" name="Imagen 29">
            <a:extLst>
              <a:ext uri="{FF2B5EF4-FFF2-40B4-BE49-F238E27FC236}">
                <a16:creationId xmlns:a16="http://schemas.microsoft.com/office/drawing/2014/main" id="{552DB941-CD81-43C2-9023-BE2DBAB950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8692340" cy="6858000"/>
          </a:xfrm>
          <a:prstGeom prst="rect">
            <a:avLst/>
          </a:prstGeom>
        </p:spPr>
      </p:pic>
      <p:sp>
        <p:nvSpPr>
          <p:cNvPr id="31" name="Rectángulo 30">
            <a:extLst>
              <a:ext uri="{FF2B5EF4-FFF2-40B4-BE49-F238E27FC236}">
                <a16:creationId xmlns:a16="http://schemas.microsoft.com/office/drawing/2014/main" id="{A9010316-8E0A-4F87-BC73-CAF1178827CD}"/>
              </a:ext>
            </a:extLst>
          </p:cNvPr>
          <p:cNvSpPr/>
          <p:nvPr userDrawn="1"/>
        </p:nvSpPr>
        <p:spPr>
          <a:xfrm>
            <a:off x="0" y="0"/>
            <a:ext cx="12192000" cy="6858000"/>
          </a:xfrm>
          <a:prstGeom prst="rect">
            <a:avLst/>
          </a:prstGeom>
          <a:solidFill>
            <a:srgbClr val="5A2259">
              <a:alpha val="8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33" name="Rectángulo 32">
            <a:extLst>
              <a:ext uri="{FF2B5EF4-FFF2-40B4-BE49-F238E27FC236}">
                <a16:creationId xmlns:a16="http://schemas.microsoft.com/office/drawing/2014/main" id="{CC847C2E-02D5-487A-8F06-4EE732248FE2}"/>
              </a:ext>
            </a:extLst>
          </p:cNvPr>
          <p:cNvSpPr/>
          <p:nvPr userDrawn="1"/>
        </p:nvSpPr>
        <p:spPr>
          <a:xfrm>
            <a:off x="688293" y="4750444"/>
            <a:ext cx="5751350" cy="1430306"/>
          </a:xfrm>
          <a:prstGeom prst="rect">
            <a:avLst/>
          </a:prstGeom>
          <a:noFill/>
          <a:ln w="127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34" name="Rectángulo 33">
            <a:extLst>
              <a:ext uri="{FF2B5EF4-FFF2-40B4-BE49-F238E27FC236}">
                <a16:creationId xmlns:a16="http://schemas.microsoft.com/office/drawing/2014/main" id="{4D2BD5A6-0B1B-40CE-AFCE-727CAF0E0697}"/>
              </a:ext>
            </a:extLst>
          </p:cNvPr>
          <p:cNvSpPr/>
          <p:nvPr userDrawn="1"/>
        </p:nvSpPr>
        <p:spPr>
          <a:xfrm>
            <a:off x="688291" y="4040040"/>
            <a:ext cx="710203" cy="710404"/>
          </a:xfrm>
          <a:prstGeom prst="rect">
            <a:avLst/>
          </a:prstGeom>
          <a:solidFill>
            <a:schemeClr val="bg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chemeClr val="bg1"/>
              </a:solidFill>
              <a:latin typeface="Arial" pitchFamily="34" charset="0"/>
              <a:cs typeface="Arial" pitchFamily="34" charset="0"/>
            </a:endParaRPr>
          </a:p>
        </p:txBody>
      </p:sp>
      <p:sp>
        <p:nvSpPr>
          <p:cNvPr id="40" name="Rectángulo 39">
            <a:extLst>
              <a:ext uri="{FF2B5EF4-FFF2-40B4-BE49-F238E27FC236}">
                <a16:creationId xmlns:a16="http://schemas.microsoft.com/office/drawing/2014/main" id="{46C1DD1E-A1B6-433A-9308-9E804090A231}"/>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47" name="Forma libre: forma 46">
            <a:extLst>
              <a:ext uri="{FF2B5EF4-FFF2-40B4-BE49-F238E27FC236}">
                <a16:creationId xmlns:a16="http://schemas.microsoft.com/office/drawing/2014/main" id="{8C90463E-5889-4113-BAFF-4D4CF6426B90}"/>
              </a:ext>
            </a:extLst>
          </p:cNvPr>
          <p:cNvSpPr>
            <a:spLocks noGrp="1"/>
          </p:cNvSpPr>
          <p:nvPr>
            <p:ph type="pic" sz="quarter" idx="10" hasCustomPrompt="1"/>
          </p:nvPr>
        </p:nvSpPr>
        <p:spPr bwMode="auto">
          <a:xfrm>
            <a:off x="4295778" y="0"/>
            <a:ext cx="7896225" cy="6858000"/>
          </a:xfrm>
          <a:custGeom>
            <a:avLst/>
            <a:gdLst>
              <a:gd name="connsiteX0" fmla="*/ 536318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 name="connsiteX7" fmla="*/ 0 w 7896225"/>
              <a:gd name="connsiteY7" fmla="*/ 1578902 h 6858000"/>
              <a:gd name="connsiteX8" fmla="*/ 97443 w 7896225"/>
              <a:gd name="connsiteY8" fmla="*/ 1439219 h 6858000"/>
              <a:gd name="connsiteX9" fmla="*/ 526325 w 7896225"/>
              <a:gd name="connsiteY9" fmla="*/ 1978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225" h="6858000">
                <a:moveTo>
                  <a:pt x="536318" y="0"/>
                </a:moveTo>
                <a:lnTo>
                  <a:pt x="3429000" y="0"/>
                </a:lnTo>
                <a:lnTo>
                  <a:pt x="5805692" y="0"/>
                </a:lnTo>
                <a:lnTo>
                  <a:pt x="7896225" y="0"/>
                </a:lnTo>
                <a:lnTo>
                  <a:pt x="7896225" y="6858000"/>
                </a:lnTo>
                <a:lnTo>
                  <a:pt x="3429000" y="6858000"/>
                </a:lnTo>
                <a:cubicBezTo>
                  <a:pt x="1535218" y="6858000"/>
                  <a:pt x="0" y="5322784"/>
                  <a:pt x="0" y="3429000"/>
                </a:cubicBezTo>
                <a:lnTo>
                  <a:pt x="0" y="1578902"/>
                </a:lnTo>
                <a:lnTo>
                  <a:pt x="97443" y="1439219"/>
                </a:lnTo>
                <a:cubicBezTo>
                  <a:pt x="329074" y="1073090"/>
                  <a:pt x="480306" y="651045"/>
                  <a:pt x="526325" y="197896"/>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r>
              <a:rPr lang="en-GB"/>
              <a:t>Picture</a:t>
            </a:r>
          </a:p>
        </p:txBody>
      </p:sp>
      <p:sp>
        <p:nvSpPr>
          <p:cNvPr id="48" name="Forma libre: forma 47">
            <a:extLst>
              <a:ext uri="{FF2B5EF4-FFF2-40B4-BE49-F238E27FC236}">
                <a16:creationId xmlns:a16="http://schemas.microsoft.com/office/drawing/2014/main" id="{54A7AC35-48B5-49F1-9EE9-6939CC5BC3F3}"/>
              </a:ext>
            </a:extLst>
          </p:cNvPr>
          <p:cNvSpPr/>
          <p:nvPr userDrawn="1"/>
        </p:nvSpPr>
        <p:spPr>
          <a:xfrm>
            <a:off x="0" y="0"/>
            <a:ext cx="4832096" cy="2779550"/>
          </a:xfrm>
          <a:custGeom>
            <a:avLst/>
            <a:gdLst>
              <a:gd name="connsiteX0" fmla="*/ 0 w 4832096"/>
              <a:gd name="connsiteY0" fmla="*/ 0 h 2779550"/>
              <a:gd name="connsiteX1" fmla="*/ 4832096 w 4832096"/>
              <a:gd name="connsiteY1" fmla="*/ 0 h 2779550"/>
              <a:gd name="connsiteX2" fmla="*/ 4822103 w 4832096"/>
              <a:gd name="connsiteY2" fmla="*/ 197896 h 2779550"/>
              <a:gd name="connsiteX3" fmla="*/ 1961275 w 4832096"/>
              <a:gd name="connsiteY3" fmla="*/ 2779550 h 2779550"/>
              <a:gd name="connsiteX4" fmla="*/ 132079 w 4832096"/>
              <a:gd name="connsiteY4" fmla="*/ 2122886 h 2779550"/>
              <a:gd name="connsiteX5" fmla="*/ 0 w 4832096"/>
              <a:gd name="connsiteY5" fmla="*/ 2002844 h 27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2096" h="2779550">
                <a:moveTo>
                  <a:pt x="0" y="0"/>
                </a:moveTo>
                <a:lnTo>
                  <a:pt x="4832096" y="0"/>
                </a:lnTo>
                <a:lnTo>
                  <a:pt x="4822103" y="197896"/>
                </a:lnTo>
                <a:cubicBezTo>
                  <a:pt x="4674840" y="1647972"/>
                  <a:pt x="3450204" y="2779550"/>
                  <a:pt x="1961275" y="2779550"/>
                </a:cubicBezTo>
                <a:cubicBezTo>
                  <a:pt x="1266442" y="2779550"/>
                  <a:pt x="629165" y="2533118"/>
                  <a:pt x="132079" y="2122886"/>
                </a:cubicBezTo>
                <a:lnTo>
                  <a:pt x="0" y="2002844"/>
                </a:ln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R="0" lvl="0" indent="0" algn="ctr" defTabSz="457200" fontAlgn="auto">
              <a:lnSpc>
                <a:spcPct val="100000"/>
              </a:lnSpc>
              <a:spcBef>
                <a:spcPts val="0"/>
              </a:spcBef>
              <a:spcAft>
                <a:spcPts val="0"/>
              </a:spcAft>
              <a:buClrTx/>
              <a:buSzTx/>
              <a:buFontTx/>
              <a:buNone/>
              <a:tabLst/>
            </a:pPr>
            <a:endParaRPr kumimoji="0" lang="en-GB" sz="1400" b="0" i="0" u="none" strike="noStrike" cap="none" spc="0" normalizeH="0" baseline="0" err="1">
              <a:ln>
                <a:noFill/>
              </a:ln>
              <a:solidFill>
                <a:srgbClr val="000000"/>
              </a:solidFill>
              <a:effectLst/>
              <a:uLnTx/>
              <a:uFillTx/>
              <a:latin typeface="Arial" pitchFamily="34" charset="0"/>
              <a:cs typeface="Arial" pitchFamily="34" charset="0"/>
            </a:endParaRPr>
          </a:p>
        </p:txBody>
      </p:sp>
      <p:sp>
        <p:nvSpPr>
          <p:cNvPr id="50" name="Título 17">
            <a:extLst>
              <a:ext uri="{FF2B5EF4-FFF2-40B4-BE49-F238E27FC236}">
                <a16:creationId xmlns:a16="http://schemas.microsoft.com/office/drawing/2014/main" id="{BFB3B7EA-0E87-4A80-A9F2-1B7D2C2D839C}"/>
              </a:ext>
            </a:extLst>
          </p:cNvPr>
          <p:cNvSpPr>
            <a:spLocks noGrp="1"/>
          </p:cNvSpPr>
          <p:nvPr>
            <p:ph type="title" hasCustomPrompt="1"/>
          </p:nvPr>
        </p:nvSpPr>
        <p:spPr>
          <a:xfrm>
            <a:off x="960171" y="4795129"/>
            <a:ext cx="3554680" cy="1340306"/>
          </a:xfrm>
          <a:prstGeom prst="rect">
            <a:avLst/>
          </a:prstGeom>
        </p:spPr>
        <p:txBody>
          <a:bodyPr anchor="ctr">
            <a:normAutofit/>
          </a:bodyPr>
          <a:lstStyle>
            <a:lvl1pPr>
              <a:lnSpc>
                <a:spcPct val="100000"/>
              </a:lnSpc>
              <a:defRPr sz="3200" b="0" cap="all" spc="300" baseline="0">
                <a:solidFill>
                  <a:srgbClr val="FFFFFF"/>
                </a:solidFill>
              </a:defRPr>
            </a:lvl1pPr>
          </a:lstStyle>
          <a:p>
            <a:r>
              <a:rPr lang="en-US" noProof="0"/>
              <a:t>Title of chapter</a:t>
            </a:r>
          </a:p>
        </p:txBody>
      </p:sp>
      <p:sp>
        <p:nvSpPr>
          <p:cNvPr id="11" name="Marcador de texto 10">
            <a:extLst>
              <a:ext uri="{FF2B5EF4-FFF2-40B4-BE49-F238E27FC236}">
                <a16:creationId xmlns:a16="http://schemas.microsoft.com/office/drawing/2014/main" id="{788D902E-AC33-418A-A733-04BA6C555701}"/>
              </a:ext>
            </a:extLst>
          </p:cNvPr>
          <p:cNvSpPr>
            <a:spLocks noGrp="1"/>
          </p:cNvSpPr>
          <p:nvPr>
            <p:ph type="body" sz="quarter" idx="11" hasCustomPrompt="1"/>
          </p:nvPr>
        </p:nvSpPr>
        <p:spPr>
          <a:xfrm>
            <a:off x="688287" y="3867150"/>
            <a:ext cx="710207" cy="1033950"/>
          </a:xfrm>
        </p:spPr>
        <p:txBody>
          <a:bodyPr anchor="ctr">
            <a:normAutofit/>
          </a:bodyPr>
          <a:lstStyle>
            <a:lvl1pPr algn="ctr">
              <a:defRPr sz="4400" b="0">
                <a:solidFill>
                  <a:srgbClr val="5A2259"/>
                </a:solidFill>
                <a:latin typeface="Franklin Gothic Medium" panose="020B0603020102020204" pitchFamily="34" charset="0"/>
              </a:defRPr>
            </a:lvl1pPr>
          </a:lstStyle>
          <a:p>
            <a:pPr lvl="0"/>
            <a:r>
              <a:rPr lang="es-ES"/>
              <a:t>#</a:t>
            </a:r>
            <a:endParaRPr lang="en-GB"/>
          </a:p>
        </p:txBody>
      </p:sp>
      <p:pic>
        <p:nvPicPr>
          <p:cNvPr id="51" name="Picture 2">
            <a:extLst>
              <a:ext uri="{FF2B5EF4-FFF2-40B4-BE49-F238E27FC236}">
                <a16:creationId xmlns:a16="http://schemas.microsoft.com/office/drawing/2014/main" id="{6E768F5F-F96A-4B3F-9D21-B9A9111F538B}"/>
              </a:ext>
            </a:extLst>
          </p:cNvPr>
          <p:cNvPicPr>
            <a:picLocks noChangeAspect="1"/>
          </p:cNvPicPr>
          <p:nvPr userDrawn="1"/>
        </p:nvPicPr>
        <p:blipFill>
          <a:blip r:embed="rId3"/>
          <a:srcRect/>
          <a:stretch/>
        </p:blipFill>
        <p:spPr>
          <a:xfrm>
            <a:off x="577516" y="373821"/>
            <a:ext cx="3128209" cy="1564105"/>
          </a:xfrm>
          <a:prstGeom prst="rect">
            <a:avLst/>
          </a:prstGeom>
        </p:spPr>
      </p:pic>
    </p:spTree>
    <p:extLst>
      <p:ext uri="{BB962C8B-B14F-4D97-AF65-F5344CB8AC3E}">
        <p14:creationId xmlns:p14="http://schemas.microsoft.com/office/powerpoint/2010/main" val="392403943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hasCustomPrompt="1"/>
          </p:nvPr>
        </p:nvSpPr>
        <p:spPr/>
        <p:txBody>
          <a:bodyPr/>
          <a:lstStyle/>
          <a:p>
            <a:r>
              <a:rPr lang="es-ES"/>
              <a:t>TITLE</a:t>
            </a:r>
            <a:endParaRPr lang="en-GB"/>
          </a:p>
        </p:txBody>
      </p:sp>
      <p:cxnSp>
        <p:nvCxnSpPr>
          <p:cNvPr id="5" name="Conector recto 4">
            <a:extLst>
              <a:ext uri="{FF2B5EF4-FFF2-40B4-BE49-F238E27FC236}">
                <a16:creationId xmlns:a16="http://schemas.microsoft.com/office/drawing/2014/main" id="{3E4225CE-E598-4742-A9D6-30EA2C28A602}"/>
              </a:ext>
            </a:extLst>
          </p:cNvPr>
          <p:cNvCxnSpPr>
            <a:cxnSpLocks/>
          </p:cNvCxnSpPr>
          <p:nvPr userDrawn="1"/>
        </p:nvCxnSpPr>
        <p:spPr>
          <a:xfrm flipV="1">
            <a:off x="1412924" y="1810514"/>
            <a:ext cx="0" cy="4958276"/>
          </a:xfrm>
          <a:prstGeom prst="line">
            <a:avLst/>
          </a:prstGeom>
          <a:ln w="12700" cap="rnd">
            <a:solidFill>
              <a:srgbClr val="43ABB6"/>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6" name="Marcador de texto 3">
            <a:extLst>
              <a:ext uri="{FF2B5EF4-FFF2-40B4-BE49-F238E27FC236}">
                <a16:creationId xmlns:a16="http://schemas.microsoft.com/office/drawing/2014/main" id="{33621167-7825-F04F-AF93-5194E0BD4BFD}"/>
              </a:ext>
            </a:extLst>
          </p:cNvPr>
          <p:cNvSpPr>
            <a:spLocks noGrp="1"/>
          </p:cNvSpPr>
          <p:nvPr>
            <p:ph type="body" sz="quarter" idx="20" hasCustomPrompt="1"/>
          </p:nvPr>
        </p:nvSpPr>
        <p:spPr>
          <a:xfrm>
            <a:off x="1609231" y="1694689"/>
            <a:ext cx="9169841" cy="4321894"/>
          </a:xfrm>
        </p:spPr>
        <p:txBody>
          <a:bodyPr>
            <a:normAutofit/>
          </a:bodyPr>
          <a:lstStyle>
            <a:lvl1pPr marL="0" indent="0">
              <a:spcBef>
                <a:spcPts val="0"/>
              </a:spcBef>
              <a:spcAft>
                <a:spcPts val="900"/>
              </a:spcAft>
              <a:buSzPct val="80000"/>
              <a:buFont typeface="Arial" panose="020B0604020202020204" pitchFamily="34" charset="0"/>
              <a:buNone/>
              <a:defRPr sz="1500" b="0">
                <a:solidFill>
                  <a:srgbClr val="4C5B68"/>
                </a:solidFill>
              </a:defRPr>
            </a:lvl1pPr>
            <a:lvl2pPr>
              <a:spcAft>
                <a:spcPts val="900"/>
              </a:spcAft>
              <a:buClr>
                <a:srgbClr val="D3553F"/>
              </a:buClr>
              <a:defRPr lang="es-ES" sz="1500" b="0" kern="1200" spc="100" baseline="0" dirty="0">
                <a:solidFill>
                  <a:srgbClr val="4C5B68"/>
                </a:solidFill>
                <a:latin typeface="+mn-lt"/>
                <a:ea typeface="+mn-ea"/>
                <a:cs typeface="+mn-cs"/>
              </a:defRPr>
            </a:lvl2pPr>
            <a:lvl3pPr>
              <a:buClr>
                <a:srgbClr val="D3553F"/>
              </a:buClr>
              <a:defRPr lang="es-ES" sz="1500" b="0" kern="1200" spc="100" baseline="0" dirty="0">
                <a:solidFill>
                  <a:srgbClr val="4C5B68"/>
                </a:solidFill>
                <a:latin typeface="+mn-lt"/>
                <a:ea typeface="+mn-ea"/>
                <a:cs typeface="+mn-cs"/>
              </a:defRPr>
            </a:lvl3pPr>
            <a:lvl4pPr>
              <a:buClr>
                <a:srgbClr val="D3553F"/>
              </a:buClr>
              <a:defRPr lang="es-ES" sz="1500" b="0" kern="1200" spc="100" baseline="0" dirty="0">
                <a:solidFill>
                  <a:srgbClr val="4C5B68"/>
                </a:solidFill>
                <a:latin typeface="+mn-lt"/>
                <a:ea typeface="+mn-ea"/>
                <a:cs typeface="+mn-cs"/>
              </a:defRPr>
            </a:lvl4pPr>
            <a:lvl5pPr marL="9525" indent="0">
              <a:buClr>
                <a:srgbClr val="D3553F"/>
              </a:buClr>
              <a:buNone/>
              <a:defRPr lang="es-ES" sz="1500" b="0" kern="1200" spc="100" baseline="0" dirty="0">
                <a:solidFill>
                  <a:srgbClr val="4C5B68"/>
                </a:solidFill>
                <a:latin typeface="+mn-lt"/>
                <a:ea typeface="+mn-ea"/>
                <a:cs typeface="+mn-cs"/>
              </a:defRPr>
            </a:lvl5pPr>
          </a:lstStyle>
          <a:p>
            <a:pPr lvl="0"/>
            <a:r>
              <a:rPr lang="es-ES"/>
              <a:t>Text</a:t>
            </a:r>
          </a:p>
          <a:p>
            <a:pPr lvl="1"/>
            <a:r>
              <a:rPr lang="es-ES"/>
              <a:t>Text</a:t>
            </a:r>
          </a:p>
        </p:txBody>
      </p:sp>
    </p:spTree>
    <p:extLst>
      <p:ext uri="{BB962C8B-B14F-4D97-AF65-F5344CB8AC3E}">
        <p14:creationId xmlns:p14="http://schemas.microsoft.com/office/powerpoint/2010/main" val="85605725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arcador de texto 11">
            <a:extLst>
              <a:ext uri="{FF2B5EF4-FFF2-40B4-BE49-F238E27FC236}">
                <a16:creationId xmlns:a16="http://schemas.microsoft.com/office/drawing/2014/main" id="{C8ABE6D1-6F90-5143-9E46-81A6567A5080}"/>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cxnSp>
        <p:nvCxnSpPr>
          <p:cNvPr id="4" name="Conector recto 3">
            <a:extLst>
              <a:ext uri="{FF2B5EF4-FFF2-40B4-BE49-F238E27FC236}">
                <a16:creationId xmlns:a16="http://schemas.microsoft.com/office/drawing/2014/main" id="{91E55553-2EC2-4940-8474-FA5FDD1E806B}"/>
              </a:ext>
            </a:extLst>
          </p:cNvPr>
          <p:cNvCxnSpPr>
            <a:cxnSpLocks/>
          </p:cNvCxnSpPr>
          <p:nvPr userDrawn="1"/>
        </p:nvCxnSpPr>
        <p:spPr>
          <a:xfrm flipV="1">
            <a:off x="1412924" y="1810514"/>
            <a:ext cx="0" cy="4958276"/>
          </a:xfrm>
          <a:prstGeom prst="line">
            <a:avLst/>
          </a:prstGeom>
          <a:ln w="12700" cap="rnd">
            <a:solidFill>
              <a:srgbClr val="43ABB6"/>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6" name="Marcador de texto 3">
            <a:extLst>
              <a:ext uri="{FF2B5EF4-FFF2-40B4-BE49-F238E27FC236}">
                <a16:creationId xmlns:a16="http://schemas.microsoft.com/office/drawing/2014/main" id="{C83CD6F1-9136-9F4B-BE6E-50BB289DFC04}"/>
              </a:ext>
            </a:extLst>
          </p:cNvPr>
          <p:cNvSpPr>
            <a:spLocks noGrp="1"/>
          </p:cNvSpPr>
          <p:nvPr>
            <p:ph type="body" sz="quarter" idx="20" hasCustomPrompt="1"/>
          </p:nvPr>
        </p:nvSpPr>
        <p:spPr>
          <a:xfrm>
            <a:off x="1609231" y="1694689"/>
            <a:ext cx="9169841" cy="4321894"/>
          </a:xfrm>
        </p:spPr>
        <p:txBody>
          <a:bodyPr>
            <a:normAutofit/>
          </a:bodyPr>
          <a:lstStyle>
            <a:lvl1pPr marL="0" indent="0">
              <a:spcBef>
                <a:spcPts val="0"/>
              </a:spcBef>
              <a:spcAft>
                <a:spcPts val="900"/>
              </a:spcAft>
              <a:buSzPct val="80000"/>
              <a:buFont typeface="Arial" panose="020B0604020202020204" pitchFamily="34" charset="0"/>
              <a:buNone/>
              <a:defRPr sz="1500" b="0">
                <a:solidFill>
                  <a:srgbClr val="4C5B68"/>
                </a:solidFill>
              </a:defRPr>
            </a:lvl1pPr>
            <a:lvl2pPr>
              <a:spcAft>
                <a:spcPts val="900"/>
              </a:spcAft>
              <a:buClr>
                <a:srgbClr val="D3553F"/>
              </a:buClr>
              <a:defRPr lang="es-ES" sz="1500" b="0" kern="1200" spc="100" baseline="0" dirty="0">
                <a:solidFill>
                  <a:srgbClr val="4C5B68"/>
                </a:solidFill>
                <a:latin typeface="+mn-lt"/>
                <a:ea typeface="+mn-ea"/>
                <a:cs typeface="+mn-cs"/>
              </a:defRPr>
            </a:lvl2pPr>
            <a:lvl3pPr>
              <a:buClr>
                <a:srgbClr val="D3553F"/>
              </a:buClr>
              <a:defRPr lang="es-ES" sz="1500" b="0" kern="1200" spc="100" baseline="0" dirty="0">
                <a:solidFill>
                  <a:srgbClr val="4C5B68"/>
                </a:solidFill>
                <a:latin typeface="+mn-lt"/>
                <a:ea typeface="+mn-ea"/>
                <a:cs typeface="+mn-cs"/>
              </a:defRPr>
            </a:lvl3pPr>
            <a:lvl4pPr>
              <a:buClr>
                <a:srgbClr val="D3553F"/>
              </a:buClr>
              <a:defRPr lang="es-ES" sz="1500" b="0" kern="1200" spc="100" baseline="0" dirty="0">
                <a:solidFill>
                  <a:srgbClr val="4C5B68"/>
                </a:solidFill>
                <a:latin typeface="+mn-lt"/>
                <a:ea typeface="+mn-ea"/>
                <a:cs typeface="+mn-cs"/>
              </a:defRPr>
            </a:lvl4pPr>
            <a:lvl5pPr marL="9525" indent="0">
              <a:buClr>
                <a:srgbClr val="D3553F"/>
              </a:buClr>
              <a:buNone/>
              <a:defRPr lang="es-ES" sz="1500" b="0" kern="1200" spc="100" baseline="0" dirty="0">
                <a:solidFill>
                  <a:srgbClr val="4C5B68"/>
                </a:solidFill>
                <a:latin typeface="+mn-lt"/>
                <a:ea typeface="+mn-ea"/>
                <a:cs typeface="+mn-cs"/>
              </a:defRPr>
            </a:lvl5pPr>
          </a:lstStyle>
          <a:p>
            <a:pPr lvl="0"/>
            <a:r>
              <a:rPr lang="es-ES"/>
              <a:t>Text</a:t>
            </a:r>
          </a:p>
          <a:p>
            <a:pPr lvl="1"/>
            <a:r>
              <a:rPr lang="es-ES"/>
              <a:t>Text</a:t>
            </a:r>
          </a:p>
        </p:txBody>
      </p:sp>
    </p:spTree>
    <p:extLst>
      <p:ext uri="{BB962C8B-B14F-4D97-AF65-F5344CB8AC3E}">
        <p14:creationId xmlns:p14="http://schemas.microsoft.com/office/powerpoint/2010/main" val="11466080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with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5793852" y="757830"/>
            <a:ext cx="5472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hasCustomPrompt="1"/>
          </p:nvPr>
        </p:nvSpPr>
        <p:spPr>
          <a:xfrm>
            <a:off x="5793852" y="480075"/>
            <a:ext cx="4212000" cy="308122"/>
          </a:xfrm>
        </p:spPr>
        <p:txBody>
          <a:bodyPr anchor="b"/>
          <a:lstStyle/>
          <a:p>
            <a:r>
              <a:rPr lang="es-ES"/>
              <a:t>TITLE</a:t>
            </a:r>
            <a:endParaRPr lang="en-GB"/>
          </a:p>
        </p:txBody>
      </p:sp>
      <p:sp>
        <p:nvSpPr>
          <p:cNvPr id="34" name="Rectángulo 33">
            <a:extLst>
              <a:ext uri="{FF2B5EF4-FFF2-40B4-BE49-F238E27FC236}">
                <a16:creationId xmlns:a16="http://schemas.microsoft.com/office/drawing/2014/main" id="{62D147B5-EDB7-42AC-A836-CF89249A01FD}"/>
              </a:ext>
            </a:extLst>
          </p:cNvPr>
          <p:cNvSpPr/>
          <p:nvPr userDrawn="1"/>
        </p:nvSpPr>
        <p:spPr>
          <a:xfrm>
            <a:off x="0" y="1431234"/>
            <a:ext cx="12192000" cy="4784035"/>
          </a:xfrm>
          <a:prstGeom prst="rect">
            <a:avLst/>
          </a:prstGeom>
          <a:solidFill>
            <a:srgbClr val="8C9EAB">
              <a:alpha val="1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35" name="Forma libre: forma 34">
            <a:extLst>
              <a:ext uri="{FF2B5EF4-FFF2-40B4-BE49-F238E27FC236}">
                <a16:creationId xmlns:a16="http://schemas.microsoft.com/office/drawing/2014/main" id="{D552286A-F49C-42E7-A348-ADA9AC8D58BD}"/>
              </a:ext>
            </a:extLst>
          </p:cNvPr>
          <p:cNvSpPr/>
          <p:nvPr userDrawn="1"/>
        </p:nvSpPr>
        <p:spPr>
          <a:xfrm flipH="1">
            <a:off x="0" y="-48126"/>
            <a:ext cx="5534526" cy="6906124"/>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noFill/>
          <a:ln w="12700">
            <a:gradFill>
              <a:gsLst>
                <a:gs pos="0">
                  <a:schemeClr val="accent6"/>
                </a:gs>
                <a:gs pos="100000">
                  <a:srgbClr val="43ABB6"/>
                </a:gs>
              </a:gsLst>
              <a:lin ang="5400000" scaled="1"/>
            </a:gra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100" normalizeH="0" baseline="0" noProof="0" err="1">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36" name="Slide Number Placeholder 5">
            <a:extLst>
              <a:ext uri="{FF2B5EF4-FFF2-40B4-BE49-F238E27FC236}">
                <a16:creationId xmlns:a16="http://schemas.microsoft.com/office/drawing/2014/main" id="{5B692206-0B17-49CA-9101-C1F4D690BD5C}"/>
              </a:ext>
            </a:extLst>
          </p:cNvPr>
          <p:cNvSpPr txBox="1">
            <a:spLocks/>
          </p:cNvSpPr>
          <p:nvPr userDrawn="1"/>
        </p:nvSpPr>
        <p:spPr>
          <a:xfrm>
            <a:off x="560753" y="6483356"/>
            <a:ext cx="234462"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14D992F-7007-473D-9CAC-8B17A67E3C5E}" type="slidenum">
              <a:rPr kumimoji="0" lang="en-US" sz="900" b="0" i="0" u="none" strike="noStrike" kern="1200" cap="none" spc="0" normalizeH="0" baseline="0" noProof="0" smtClean="0">
                <a:ln>
                  <a:noFill/>
                </a:ln>
                <a:solidFill>
                  <a:srgbClr val="5A2259"/>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A2259"/>
              </a:solidFill>
              <a:effectLst/>
              <a:uLnTx/>
              <a:uFillTx/>
              <a:latin typeface="Arial"/>
              <a:ea typeface="+mn-ea"/>
              <a:cs typeface="+mn-cs"/>
            </a:endParaRPr>
          </a:p>
        </p:txBody>
      </p:sp>
      <p:sp>
        <p:nvSpPr>
          <p:cNvPr id="45" name="Rectángulo redondeado 97">
            <a:extLst>
              <a:ext uri="{FF2B5EF4-FFF2-40B4-BE49-F238E27FC236}">
                <a16:creationId xmlns:a16="http://schemas.microsoft.com/office/drawing/2014/main" id="{8BD2B99C-EA8C-48D9-AF37-F29645618C28}"/>
              </a:ext>
            </a:extLst>
          </p:cNvPr>
          <p:cNvSpPr/>
          <p:nvPr userDrawn="1"/>
        </p:nvSpPr>
        <p:spPr>
          <a:xfrm>
            <a:off x="6192252" y="1782026"/>
            <a:ext cx="5037221" cy="4317857"/>
          </a:xfrm>
          <a:prstGeom prst="roundRect">
            <a:avLst>
              <a:gd name="adj" fmla="val 6244"/>
            </a:avLst>
          </a:prstGeom>
          <a:noFill/>
          <a:ln w="12700">
            <a:solidFill>
              <a:schemeClr val="accent6"/>
            </a:soli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bIns="0" rtlCol="0" anchor="t"/>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100" normalizeH="0" baseline="0" noProof="0">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79" name="Rectángulo redondeado 71">
            <a:extLst>
              <a:ext uri="{FF2B5EF4-FFF2-40B4-BE49-F238E27FC236}">
                <a16:creationId xmlns:a16="http://schemas.microsoft.com/office/drawing/2014/main" id="{DFC4FC1E-20C6-4661-A371-E1E4034827F7}"/>
              </a:ext>
            </a:extLst>
          </p:cNvPr>
          <p:cNvSpPr/>
          <p:nvPr userDrawn="1"/>
        </p:nvSpPr>
        <p:spPr>
          <a:xfrm>
            <a:off x="6318437" y="1540560"/>
            <a:ext cx="5041525" cy="4498759"/>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81" name="Forma libre: forma 80">
            <a:extLst>
              <a:ext uri="{FF2B5EF4-FFF2-40B4-BE49-F238E27FC236}">
                <a16:creationId xmlns:a16="http://schemas.microsoft.com/office/drawing/2014/main" id="{47C4454F-FE9E-4768-923A-E5429EA367FA}"/>
              </a:ext>
            </a:extLst>
          </p:cNvPr>
          <p:cNvSpPr>
            <a:spLocks noGrp="1"/>
          </p:cNvSpPr>
          <p:nvPr>
            <p:ph type="pic" sz="quarter" idx="11" hasCustomPrompt="1"/>
          </p:nvPr>
        </p:nvSpPr>
        <p:spPr bwMode="auto">
          <a:xfrm>
            <a:off x="1" y="2"/>
            <a:ext cx="5404021" cy="6857998"/>
          </a:xfrm>
          <a:custGeom>
            <a:avLst/>
            <a:gdLst>
              <a:gd name="connsiteX0" fmla="*/ 0 w 5404021"/>
              <a:gd name="connsiteY0" fmla="*/ 0 h 6857998"/>
              <a:gd name="connsiteX1" fmla="*/ 4268336 w 5404021"/>
              <a:gd name="connsiteY1" fmla="*/ 0 h 6857998"/>
              <a:gd name="connsiteX2" fmla="*/ 4429268 w 5404021"/>
              <a:gd name="connsiteY2" fmla="*/ 177070 h 6857998"/>
              <a:gd name="connsiteX3" fmla="*/ 5404021 w 5404021"/>
              <a:gd name="connsiteY3" fmla="*/ 2892328 h 6857998"/>
              <a:gd name="connsiteX4" fmla="*/ 2796921 w 5404021"/>
              <a:gd name="connsiteY4" fmla="*/ 6825527 h 6857998"/>
              <a:gd name="connsiteX5" fmla="*/ 2714568 w 5404021"/>
              <a:gd name="connsiteY5" fmla="*/ 6857998 h 6857998"/>
              <a:gd name="connsiteX6" fmla="*/ 0 w 5404021"/>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1" h="6857998">
                <a:moveTo>
                  <a:pt x="0" y="0"/>
                </a:moveTo>
                <a:lnTo>
                  <a:pt x="4268336" y="0"/>
                </a:lnTo>
                <a:lnTo>
                  <a:pt x="4429268" y="177070"/>
                </a:lnTo>
                <a:cubicBezTo>
                  <a:pt x="5038216" y="914944"/>
                  <a:pt x="5404021" y="1860918"/>
                  <a:pt x="5404021" y="2892328"/>
                </a:cubicBezTo>
                <a:cubicBezTo>
                  <a:pt x="5404021" y="4660461"/>
                  <a:pt x="4329004" y="6177511"/>
                  <a:pt x="2796921" y="6825527"/>
                </a:cubicBezTo>
                <a:lnTo>
                  <a:pt x="2714568" y="6857998"/>
                </a:lnTo>
                <a:lnTo>
                  <a:pt x="0" y="6857998"/>
                </a:lnTo>
                <a:close/>
              </a:path>
            </a:pathLst>
          </a:custGeom>
          <a:noFill/>
          <a:ln w="9525">
            <a:noFill/>
            <a:miter lim="800000"/>
            <a:headEnd/>
            <a:tailEnd/>
          </a:ln>
        </p:spPr>
        <p:txBody>
          <a:bodyPr wrap="square" bIns="1260000" anchor="ctr">
            <a:noAutofit/>
          </a:bodyPr>
          <a:lstStyle>
            <a:lvl1pPr algn="ctr">
              <a:defRPr sz="1800" b="1"/>
            </a:lvl1pPr>
          </a:lstStyle>
          <a:p>
            <a:r>
              <a:rPr lang="en-GB"/>
              <a:t>Picture</a:t>
            </a:r>
          </a:p>
        </p:txBody>
      </p:sp>
      <p:sp>
        <p:nvSpPr>
          <p:cNvPr id="3" name="Marcador de texto 2">
            <a:extLst>
              <a:ext uri="{FF2B5EF4-FFF2-40B4-BE49-F238E27FC236}">
                <a16:creationId xmlns:a16="http://schemas.microsoft.com/office/drawing/2014/main" id="{876299E4-19BE-F24A-85E8-7BE02A89B4F9}"/>
              </a:ext>
            </a:extLst>
          </p:cNvPr>
          <p:cNvSpPr>
            <a:spLocks noGrp="1"/>
          </p:cNvSpPr>
          <p:nvPr>
            <p:ph type="body" sz="quarter" idx="14" hasCustomPrompt="1"/>
          </p:nvPr>
        </p:nvSpPr>
        <p:spPr>
          <a:xfrm>
            <a:off x="6713536" y="1782024"/>
            <a:ext cx="4251325" cy="4025051"/>
          </a:xfrm>
        </p:spPr>
        <p:txBody>
          <a:bodyPr anchor="ctr"/>
          <a:lstStyle/>
          <a:p>
            <a:pPr lvl="0"/>
            <a:r>
              <a:rPr lang="es-ES"/>
              <a:t>Text</a:t>
            </a:r>
          </a:p>
          <a:p>
            <a:pPr lvl="1"/>
            <a:r>
              <a:rPr lang="es-ES"/>
              <a:t>Text</a:t>
            </a:r>
          </a:p>
          <a:p>
            <a:pPr lvl="2"/>
            <a:r>
              <a:rPr lang="es-ES"/>
              <a:t>Text</a:t>
            </a:r>
          </a:p>
          <a:p>
            <a:pPr lvl="3"/>
            <a:r>
              <a:rPr lang="es-ES"/>
              <a:t>Text</a:t>
            </a:r>
          </a:p>
          <a:p>
            <a:pPr lvl="4"/>
            <a:r>
              <a:rPr lang="es-ES"/>
              <a:t>Text</a:t>
            </a:r>
            <a:endParaRPr lang="en-GB"/>
          </a:p>
        </p:txBody>
      </p:sp>
    </p:spTree>
    <p:extLst>
      <p:ext uri="{BB962C8B-B14F-4D97-AF65-F5344CB8AC3E}">
        <p14:creationId xmlns:p14="http://schemas.microsoft.com/office/powerpoint/2010/main" val="9312644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err="1"/>
              <a:t>title</a:t>
            </a:r>
            <a:endParaRPr lang="en-GB"/>
          </a:p>
        </p:txBody>
      </p:sp>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hasCustomPrompt="1"/>
          </p:nvPr>
        </p:nvSpPr>
        <p:spPr>
          <a:xfrm>
            <a:off x="8444526" y="2163977"/>
            <a:ext cx="2840815" cy="3418675"/>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hasCustomPrompt="1"/>
          </p:nvPr>
        </p:nvSpPr>
        <p:spPr>
          <a:xfrm>
            <a:off x="746125" y="2020888"/>
            <a:ext cx="6264275" cy="3562350"/>
          </a:xfrm>
        </p:spPr>
        <p:txBody>
          <a:bodyPr bIns="1260000" anchor="ctr"/>
          <a:lstStyle>
            <a:lvl1pPr algn="ctr">
              <a:defRPr sz="1800" b="1"/>
            </a:lvl1pPr>
          </a:lstStyle>
          <a:p>
            <a:r>
              <a:rPr lang="en-GB"/>
              <a:t>Graph</a:t>
            </a:r>
          </a:p>
        </p:txBody>
      </p:sp>
    </p:spTree>
    <p:extLst>
      <p:ext uri="{BB962C8B-B14F-4D97-AF65-F5344CB8AC3E}">
        <p14:creationId xmlns:p14="http://schemas.microsoft.com/office/powerpoint/2010/main" val="44466987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ext and graph">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hasCustomPrompt="1"/>
          </p:nvPr>
        </p:nvSpPr>
        <p:spPr>
          <a:xfrm>
            <a:off x="8444526" y="2163977"/>
            <a:ext cx="2840815" cy="3418675"/>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hasCustomPrompt="1"/>
          </p:nvPr>
        </p:nvSpPr>
        <p:spPr>
          <a:xfrm>
            <a:off x="746125" y="2020888"/>
            <a:ext cx="6264275" cy="3562350"/>
          </a:xfrm>
        </p:spPr>
        <p:txBody>
          <a:bodyPr bIns="1260000" anchor="ctr"/>
          <a:lstStyle>
            <a:lvl1pPr algn="ctr">
              <a:defRPr sz="1800" b="1"/>
            </a:lvl1pPr>
          </a:lstStyle>
          <a:p>
            <a:r>
              <a:rPr lang="en-GB"/>
              <a:t>Graph</a:t>
            </a:r>
          </a:p>
        </p:txBody>
      </p:sp>
    </p:spTree>
    <p:extLst>
      <p:ext uri="{BB962C8B-B14F-4D97-AF65-F5344CB8AC3E}">
        <p14:creationId xmlns:p14="http://schemas.microsoft.com/office/powerpoint/2010/main" val="230588245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text blocks">
    <p:spTree>
      <p:nvGrpSpPr>
        <p:cNvPr id="1" name=""/>
        <p:cNvGrpSpPr/>
        <p:nvPr/>
      </p:nvGrpSpPr>
      <p:grpSpPr>
        <a:xfrm>
          <a:off x="0" y="0"/>
          <a:ext cx="0" cy="0"/>
          <a:chOff x="0" y="0"/>
          <a:chExt cx="0" cy="0"/>
        </a:xfrm>
      </p:grpSpPr>
      <p:sp>
        <p:nvSpPr>
          <p:cNvPr id="13" name="Rectángulo 12">
            <a:extLst>
              <a:ext uri="{FF2B5EF4-FFF2-40B4-BE49-F238E27FC236}">
                <a16:creationId xmlns:a16="http://schemas.microsoft.com/office/drawing/2014/main" id="{4EC101F5-9D0B-4D29-8F7C-3C55FAB9A77F}"/>
              </a:ext>
            </a:extLst>
          </p:cNvPr>
          <p:cNvSpPr/>
          <p:nvPr userDrawn="1"/>
        </p:nvSpPr>
        <p:spPr>
          <a:xfrm>
            <a:off x="0" y="1542355"/>
            <a:ext cx="12192000" cy="1476908"/>
          </a:xfrm>
          <a:prstGeom prst="rect">
            <a:avLst/>
          </a:prstGeom>
          <a:solidFill>
            <a:srgbClr val="8C9EAB">
              <a:alpha val="15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16" name="Rectángulo redondeado 112">
            <a:extLst>
              <a:ext uri="{FF2B5EF4-FFF2-40B4-BE49-F238E27FC236}">
                <a16:creationId xmlns:a16="http://schemas.microsoft.com/office/drawing/2014/main" id="{2309FD08-C0E7-4117-A02B-BFC86E786E58}"/>
              </a:ext>
            </a:extLst>
          </p:cNvPr>
          <p:cNvSpPr/>
          <p:nvPr userDrawn="1"/>
        </p:nvSpPr>
        <p:spPr>
          <a:xfrm flipH="1">
            <a:off x="6096000" y="1348923"/>
            <a:ext cx="5580378" cy="1863773"/>
          </a:xfrm>
          <a:prstGeom prst="rect">
            <a:avLst/>
          </a:prstGeom>
          <a:solidFill>
            <a:srgbClr val="D3553F"/>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grpSp>
        <p:nvGrpSpPr>
          <p:cNvPr id="20" name="Grupo 19">
            <a:extLst>
              <a:ext uri="{FF2B5EF4-FFF2-40B4-BE49-F238E27FC236}">
                <a16:creationId xmlns:a16="http://schemas.microsoft.com/office/drawing/2014/main" id="{17DC9A3F-739E-4BB7-9BE4-8BC81A02F73C}"/>
              </a:ext>
            </a:extLst>
          </p:cNvPr>
          <p:cNvGrpSpPr/>
          <p:nvPr userDrawn="1"/>
        </p:nvGrpSpPr>
        <p:grpSpPr>
          <a:xfrm>
            <a:off x="5386437" y="1348923"/>
            <a:ext cx="1041631" cy="5388761"/>
            <a:chOff x="5385829" y="3721984"/>
            <a:chExt cx="1041631" cy="3046016"/>
          </a:xfrm>
        </p:grpSpPr>
        <p:sp>
          <p:nvSpPr>
            <p:cNvPr id="21" name="Rectángulo 20">
              <a:extLst>
                <a:ext uri="{FF2B5EF4-FFF2-40B4-BE49-F238E27FC236}">
                  <a16:creationId xmlns:a16="http://schemas.microsoft.com/office/drawing/2014/main" id="{81E9A4B6-B775-4B30-BE04-CA8ED3AE0B87}"/>
                </a:ext>
              </a:extLst>
            </p:cNvPr>
            <p:cNvSpPr/>
            <p:nvPr/>
          </p:nvSpPr>
          <p:spPr>
            <a:xfrm>
              <a:off x="5713633" y="3721984"/>
              <a:ext cx="713827" cy="3038759"/>
            </a:xfrm>
            <a:prstGeom prst="rect">
              <a:avLst/>
            </a:prstGeom>
            <a:solidFill>
              <a:schemeClr val="tx1">
                <a:alpha val="32000"/>
              </a:schemeClr>
            </a:solidFill>
            <a:ln w="9525">
              <a:noFill/>
            </a:ln>
            <a:effectLst>
              <a:softEdge rad="330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2" name="Rectángulo 21">
              <a:extLst>
                <a:ext uri="{FF2B5EF4-FFF2-40B4-BE49-F238E27FC236}">
                  <a16:creationId xmlns:a16="http://schemas.microsoft.com/office/drawing/2014/main" id="{F6A0B200-0CC5-4D2A-8AAA-CD30D0FE4F39}"/>
                </a:ext>
              </a:extLst>
            </p:cNvPr>
            <p:cNvSpPr/>
            <p:nvPr/>
          </p:nvSpPr>
          <p:spPr>
            <a:xfrm>
              <a:off x="5385829" y="3729242"/>
              <a:ext cx="713827" cy="303875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gr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18" name="Rectángulo 17">
            <a:extLst>
              <a:ext uri="{FF2B5EF4-FFF2-40B4-BE49-F238E27FC236}">
                <a16:creationId xmlns:a16="http://schemas.microsoft.com/office/drawing/2014/main" id="{F989FA77-B19D-465F-9297-6B15B31BA453}"/>
              </a:ext>
            </a:extLst>
          </p:cNvPr>
          <p:cNvSpPr/>
          <p:nvPr userDrawn="1"/>
        </p:nvSpPr>
        <p:spPr>
          <a:xfrm>
            <a:off x="348307" y="1453437"/>
            <a:ext cx="11447016" cy="1863773"/>
          </a:xfrm>
          <a:prstGeom prst="rect">
            <a:avLst/>
          </a:prstGeom>
          <a:noFill/>
          <a:ln w="12700" cap="flat" cmpd="sng" algn="ctr">
            <a:gradFill>
              <a:gsLst>
                <a:gs pos="27000">
                  <a:srgbClr val="43ABB6"/>
                </a:gs>
                <a:gs pos="52000">
                  <a:srgbClr val="D3553F"/>
                </a:gs>
              </a:gsLst>
              <a:lin ang="0" scaled="0"/>
            </a:gra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24" name="Conector recto 23">
            <a:extLst>
              <a:ext uri="{FF2B5EF4-FFF2-40B4-BE49-F238E27FC236}">
                <a16:creationId xmlns:a16="http://schemas.microsoft.com/office/drawing/2014/main" id="{A749055D-D40F-4C57-95F4-8495AA571D9D}"/>
              </a:ext>
            </a:extLst>
          </p:cNvPr>
          <p:cNvCxnSpPr>
            <a:cxnSpLocks/>
          </p:cNvCxnSpPr>
          <p:nvPr userDrawn="1"/>
        </p:nvCxnSpPr>
        <p:spPr>
          <a:xfrm>
            <a:off x="852717" y="2859796"/>
            <a:ext cx="0" cy="883329"/>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D1DBE710-F316-4A46-A479-92F8C5EDBA6B}"/>
              </a:ext>
            </a:extLst>
          </p:cNvPr>
          <p:cNvCxnSpPr>
            <a:cxnSpLocks/>
          </p:cNvCxnSpPr>
          <p:nvPr userDrawn="1"/>
        </p:nvCxnSpPr>
        <p:spPr>
          <a:xfrm>
            <a:off x="6451060" y="2834396"/>
            <a:ext cx="0" cy="883329"/>
          </a:xfrm>
          <a:prstGeom prst="line">
            <a:avLst/>
          </a:prstGeom>
          <a:ln w="12700">
            <a:solidFill>
              <a:srgbClr val="D3553F"/>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25" name="Rectángulo 24">
            <a:extLst>
              <a:ext uri="{FF2B5EF4-FFF2-40B4-BE49-F238E27FC236}">
                <a16:creationId xmlns:a16="http://schemas.microsoft.com/office/drawing/2014/main" id="{577DE68B-C390-463D-9DC7-110E49B1EF8B}"/>
              </a:ext>
            </a:extLst>
          </p:cNvPr>
          <p:cNvSpPr/>
          <p:nvPr userDrawn="1"/>
        </p:nvSpPr>
        <p:spPr>
          <a:xfrm>
            <a:off x="467709" y="134892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6" name="Marcador de texto 5">
            <a:extLst>
              <a:ext uri="{FF2B5EF4-FFF2-40B4-BE49-F238E27FC236}">
                <a16:creationId xmlns:a16="http://schemas.microsoft.com/office/drawing/2014/main" id="{9A870F9B-D0DC-43A0-ABB3-AB968AB4D278}"/>
              </a:ext>
            </a:extLst>
          </p:cNvPr>
          <p:cNvSpPr>
            <a:spLocks noGrp="1"/>
          </p:cNvSpPr>
          <p:nvPr>
            <p:ph type="body" sz="quarter" idx="16" hasCustomPrompt="1"/>
          </p:nvPr>
        </p:nvSpPr>
        <p:spPr>
          <a:xfrm>
            <a:off x="1093346" y="3615536"/>
            <a:ext cx="4425133" cy="2484634"/>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9" name="Marcador de texto 8">
            <a:extLst>
              <a:ext uri="{FF2B5EF4-FFF2-40B4-BE49-F238E27FC236}">
                <a16:creationId xmlns:a16="http://schemas.microsoft.com/office/drawing/2014/main" id="{0D8EE4D9-40DB-41E3-9FE9-6FF0D78AF033}"/>
              </a:ext>
            </a:extLst>
          </p:cNvPr>
          <p:cNvSpPr>
            <a:spLocks noGrp="1"/>
          </p:cNvSpPr>
          <p:nvPr>
            <p:ph type="body" sz="quarter" idx="17" hasCustomPrompt="1"/>
          </p:nvPr>
        </p:nvSpPr>
        <p:spPr>
          <a:xfrm>
            <a:off x="6691689" y="3615536"/>
            <a:ext cx="4425133" cy="2484634"/>
          </a:xfrm>
        </p:spPr>
        <p:txBody>
          <a:bodyPr/>
          <a:lstStyle/>
          <a:p>
            <a:pPr lvl="0"/>
            <a:r>
              <a:rPr lang="en-US" noProof="0"/>
              <a:t>Text</a:t>
            </a:r>
          </a:p>
          <a:p>
            <a:pPr lvl="1"/>
            <a:r>
              <a:rPr lang="en-US" noProof="0"/>
              <a:t>Text</a:t>
            </a:r>
          </a:p>
          <a:p>
            <a:pPr lvl="2"/>
            <a:r>
              <a:rPr lang="en-US" noProof="0"/>
              <a:t>Text</a:t>
            </a:r>
          </a:p>
          <a:p>
            <a:pPr lvl="3"/>
            <a:r>
              <a:rPr lang="en-US" noProof="0"/>
              <a:t>Text</a:t>
            </a:r>
          </a:p>
          <a:p>
            <a:pPr lvl="4"/>
            <a:r>
              <a:rPr lang="en-US" noProof="0"/>
              <a:t>Text</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882103" y="1614579"/>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882103" y="2032961"/>
            <a:ext cx="4644000" cy="986302"/>
          </a:xfrm>
        </p:spPr>
        <p:txBody>
          <a:bodyPr/>
          <a:lstStyle>
            <a:lvl1pPr>
              <a:defRPr sz="1400" baseline="0">
                <a:solidFill>
                  <a:schemeClr val="bg1">
                    <a:alpha val="75000"/>
                  </a:schemeClr>
                </a:solidFill>
              </a:defRPr>
            </a:lvl1pPr>
          </a:lstStyle>
          <a:p>
            <a:pPr lvl="0"/>
            <a:r>
              <a:rPr lang="en-US" noProof="0"/>
              <a:t>Lorem ipsum dolor sit </a:t>
            </a:r>
            <a:r>
              <a:rPr lang="en-US" noProof="0" err="1"/>
              <a:t>amet</a:t>
            </a:r>
            <a:endParaRPr lang="en-US" noProof="0"/>
          </a:p>
        </p:txBody>
      </p:sp>
      <p:sp>
        <p:nvSpPr>
          <p:cNvPr id="37" name="Marcador de texto 31">
            <a:extLst>
              <a:ext uri="{FF2B5EF4-FFF2-40B4-BE49-F238E27FC236}">
                <a16:creationId xmlns:a16="http://schemas.microsoft.com/office/drawing/2014/main" id="{9551043E-38D0-497E-8ACD-F227943B8EDA}"/>
              </a:ext>
            </a:extLst>
          </p:cNvPr>
          <p:cNvSpPr>
            <a:spLocks noGrp="1"/>
          </p:cNvSpPr>
          <p:nvPr>
            <p:ph type="body" sz="quarter" idx="20" hasCustomPrompt="1"/>
          </p:nvPr>
        </p:nvSpPr>
        <p:spPr>
          <a:xfrm>
            <a:off x="6447963" y="1621924"/>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8" name="Marcador de texto 33">
            <a:extLst>
              <a:ext uri="{FF2B5EF4-FFF2-40B4-BE49-F238E27FC236}">
                <a16:creationId xmlns:a16="http://schemas.microsoft.com/office/drawing/2014/main" id="{DCC3E33E-CD51-4D68-AC6D-45EE4329382C}"/>
              </a:ext>
            </a:extLst>
          </p:cNvPr>
          <p:cNvSpPr>
            <a:spLocks noGrp="1"/>
          </p:cNvSpPr>
          <p:nvPr>
            <p:ph type="body" sz="quarter" idx="21" hasCustomPrompt="1"/>
          </p:nvPr>
        </p:nvSpPr>
        <p:spPr>
          <a:xfrm>
            <a:off x="6447963" y="2040306"/>
            <a:ext cx="4644000" cy="986302"/>
          </a:xfrm>
        </p:spPr>
        <p:txBody>
          <a:bodyPr/>
          <a:lstStyle>
            <a:lvl1pPr>
              <a:defRPr sz="1400" baseline="0">
                <a:solidFill>
                  <a:schemeClr val="bg1">
                    <a:alpha val="75000"/>
                  </a:schemeClr>
                </a:solidFill>
              </a:defRPr>
            </a:lvl1pPr>
          </a:lstStyle>
          <a:p>
            <a:pPr lvl="0"/>
            <a:r>
              <a:rPr lang="en-US" noProof="0"/>
              <a:t>Lorem ipsum dolor sit </a:t>
            </a:r>
            <a:r>
              <a:rPr lang="en-US" noProof="0" err="1"/>
              <a:t>amet</a:t>
            </a:r>
            <a:endParaRPr lang="en-US" noProof="0"/>
          </a:p>
        </p:txBody>
      </p:sp>
    </p:spTree>
    <p:extLst>
      <p:ext uri="{BB962C8B-B14F-4D97-AF65-F5344CB8AC3E}">
        <p14:creationId xmlns:p14="http://schemas.microsoft.com/office/powerpoint/2010/main" val="349712484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Key information">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2257623"/>
            <a:ext cx="12192000" cy="3392740"/>
          </a:xfrm>
          <a:prstGeom prst="rect">
            <a:avLst/>
          </a:prstGeom>
          <a:solidFill>
            <a:srgbClr val="D3553F">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3" name="Rectángulo 22">
            <a:extLst>
              <a:ext uri="{FF2B5EF4-FFF2-40B4-BE49-F238E27FC236}">
                <a16:creationId xmlns:a16="http://schemas.microsoft.com/office/drawing/2014/main" id="{F03D36B0-D8D7-4719-A74B-706B315234CA}"/>
              </a:ext>
            </a:extLst>
          </p:cNvPr>
          <p:cNvSpPr/>
          <p:nvPr userDrawn="1"/>
        </p:nvSpPr>
        <p:spPr>
          <a:xfrm>
            <a:off x="2883635" y="1833800"/>
            <a:ext cx="6607561" cy="1702587"/>
          </a:xfrm>
          <a:prstGeom prst="rect">
            <a:avLst/>
          </a:prstGeom>
          <a:solidFill>
            <a:schemeClr val="tx1">
              <a:alpha val="31000"/>
            </a:schemeClr>
          </a:solidFill>
          <a:ln>
            <a:noFill/>
          </a:ln>
          <a:effectLst>
            <a:softEdge rad="2032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6" name="Rectángulo 25">
            <a:extLst>
              <a:ext uri="{FF2B5EF4-FFF2-40B4-BE49-F238E27FC236}">
                <a16:creationId xmlns:a16="http://schemas.microsoft.com/office/drawing/2014/main" id="{B613C63C-FDC8-46A5-9FB2-C9505D609D48}"/>
              </a:ext>
            </a:extLst>
          </p:cNvPr>
          <p:cNvSpPr/>
          <p:nvPr userDrawn="1"/>
        </p:nvSpPr>
        <p:spPr>
          <a:xfrm>
            <a:off x="2747610" y="1833799"/>
            <a:ext cx="6567115" cy="1702588"/>
          </a:xfrm>
          <a:prstGeom prst="rect">
            <a:avLst/>
          </a:prstGeom>
          <a:noFill/>
          <a:ln w="12700">
            <a:solidFill>
              <a:srgbClr val="43ABB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7" name="Rectángulo 26">
            <a:extLst>
              <a:ext uri="{FF2B5EF4-FFF2-40B4-BE49-F238E27FC236}">
                <a16:creationId xmlns:a16="http://schemas.microsoft.com/office/drawing/2014/main" id="{05BFB397-0A46-4C7C-A573-9FE7441CDA01}"/>
              </a:ext>
            </a:extLst>
          </p:cNvPr>
          <p:cNvSpPr/>
          <p:nvPr userDrawn="1"/>
        </p:nvSpPr>
        <p:spPr>
          <a:xfrm>
            <a:off x="2877267" y="1833798"/>
            <a:ext cx="6437465" cy="1702589"/>
          </a:xfrm>
          <a:prstGeom prst="rect">
            <a:avLst/>
          </a:prstGeom>
          <a:solidFill>
            <a:srgbClr val="43ABB6"/>
          </a:solidFill>
          <a:ln>
            <a:no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endParaRPr lang="en-GB" sz="1400" spc="100">
              <a:solidFill>
                <a:srgbClr val="FFFFFF">
                  <a:alpha val="75000"/>
                </a:srgbClr>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3031851" y="1956340"/>
            <a:ext cx="6128297" cy="720000"/>
          </a:xfrm>
        </p:spPr>
        <p:txBody>
          <a:bodyPr anchor="b"/>
          <a:lstStyle>
            <a:lvl1pPr algn="ctr">
              <a:defRPr sz="2800" b="1" cap="all" baseline="0">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3031851" y="2714279"/>
            <a:ext cx="6128297" cy="720000"/>
          </a:xfrm>
        </p:spPr>
        <p:txBody>
          <a:bodyPr/>
          <a:lstStyle>
            <a:lvl1pPr algn="ctr">
              <a:defRPr sz="1800" baseline="0">
                <a:solidFill>
                  <a:schemeClr val="bg1">
                    <a:alpha val="75000"/>
                  </a:schemeClr>
                </a:solidFill>
              </a:defRPr>
            </a:lvl1pPr>
          </a:lstStyle>
          <a:p>
            <a:pPr lvl="0"/>
            <a:r>
              <a:rPr lang="en-US" noProof="0"/>
              <a:t>Lorem ipsum dolor sit </a:t>
            </a:r>
            <a:r>
              <a:rPr lang="en-US" noProof="0" err="1"/>
              <a:t>amet</a:t>
            </a:r>
            <a:endParaRPr lang="en-US" noProof="0"/>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a:off x="3034126" y="3536387"/>
            <a:ext cx="0" cy="445894"/>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4" name="Marcador de texto 3">
            <a:extLst>
              <a:ext uri="{FF2B5EF4-FFF2-40B4-BE49-F238E27FC236}">
                <a16:creationId xmlns:a16="http://schemas.microsoft.com/office/drawing/2014/main" id="{0867734D-077E-4843-BFC9-1D1FFC025995}"/>
              </a:ext>
            </a:extLst>
          </p:cNvPr>
          <p:cNvSpPr>
            <a:spLocks noGrp="1"/>
          </p:cNvSpPr>
          <p:nvPr>
            <p:ph type="body" sz="quarter" idx="20" hasCustomPrompt="1"/>
          </p:nvPr>
        </p:nvSpPr>
        <p:spPr>
          <a:xfrm>
            <a:off x="3202440" y="3875487"/>
            <a:ext cx="5957706" cy="1600438"/>
          </a:xfrm>
        </p:spPr>
        <p:txBody>
          <a:bodyPr/>
          <a:lstStyle>
            <a:lvl1pPr>
              <a:defRPr sz="1400" b="1">
                <a:solidFill>
                  <a:srgbClr val="D3553F"/>
                </a:solidFill>
              </a:defRPr>
            </a:lvl1pPr>
          </a:lstStyle>
          <a:p>
            <a:pPr lvl="0"/>
            <a:r>
              <a:rPr lang="es-ES"/>
              <a:t>Text</a:t>
            </a:r>
          </a:p>
        </p:txBody>
      </p:sp>
    </p:spTree>
    <p:extLst>
      <p:ext uri="{BB962C8B-B14F-4D97-AF65-F5344CB8AC3E}">
        <p14:creationId xmlns:p14="http://schemas.microsoft.com/office/powerpoint/2010/main" val="30584656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4" name="Title 3"/>
          <p:cNvSpPr>
            <a:spLocks noGrp="1"/>
          </p:cNvSpPr>
          <p:nvPr>
            <p:ph type="title"/>
          </p:nvPr>
        </p:nvSpPr>
        <p:spPr>
          <a:xfrm>
            <a:off x="630000" y="484301"/>
            <a:ext cx="6392592"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435541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2502922"/>
            <a:ext cx="12192000" cy="3047327"/>
          </a:xfrm>
          <a:prstGeom prst="rect">
            <a:avLst/>
          </a:prstGeom>
          <a:solidFill>
            <a:srgbClr val="4C5B68">
              <a:alpha val="7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1928918" y="1862175"/>
            <a:ext cx="8530451" cy="532272"/>
          </a:xfrm>
        </p:spPr>
        <p:txBody>
          <a:bodyPr anchor="b"/>
          <a:lstStyle>
            <a:lvl1pPr algn="l">
              <a:defRPr sz="2000" b="1" cap="all" baseline="0">
                <a:solidFill>
                  <a:srgbClr val="43ABB6"/>
                </a:solidFill>
                <a:latin typeface="Franklin Gothic Medium" panose="020B0603020102020204" pitchFamily="34" charset="0"/>
              </a:defRPr>
            </a:lvl1pPr>
          </a:lstStyle>
          <a:p>
            <a:pPr lvl="0"/>
            <a:r>
              <a:rPr lang="en-US" noProof="0"/>
              <a:t>TEXT</a:t>
            </a:r>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a:off x="1732610" y="1862175"/>
            <a:ext cx="0" cy="853466"/>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4" name="Marcador de texto 3">
            <a:extLst>
              <a:ext uri="{FF2B5EF4-FFF2-40B4-BE49-F238E27FC236}">
                <a16:creationId xmlns:a16="http://schemas.microsoft.com/office/drawing/2014/main" id="{0867734D-077E-4843-BFC9-1D1FFC025995}"/>
              </a:ext>
            </a:extLst>
          </p:cNvPr>
          <p:cNvSpPr>
            <a:spLocks noGrp="1"/>
          </p:cNvSpPr>
          <p:nvPr>
            <p:ph type="body" sz="quarter" idx="20" hasCustomPrompt="1"/>
          </p:nvPr>
        </p:nvSpPr>
        <p:spPr>
          <a:xfrm>
            <a:off x="1928918" y="2608847"/>
            <a:ext cx="8530458" cy="2837510"/>
          </a:xfrm>
        </p:spPr>
        <p:txBody>
          <a:bodyPr/>
          <a:lstStyle>
            <a:lvl1pPr>
              <a:spcBef>
                <a:spcPts val="0"/>
              </a:spcBef>
              <a:spcAft>
                <a:spcPts val="600"/>
              </a:spcAft>
              <a:defRPr sz="1400" b="0">
                <a:solidFill>
                  <a:srgbClr val="4C5B68"/>
                </a:solidFill>
              </a:defRPr>
            </a:lvl1pPr>
          </a:lstStyle>
          <a:p>
            <a:pPr lvl="0"/>
            <a:r>
              <a:rPr lang="es-ES"/>
              <a:t>Text</a:t>
            </a:r>
          </a:p>
        </p:txBody>
      </p:sp>
    </p:spTree>
    <p:extLst>
      <p:ext uri="{BB962C8B-B14F-4D97-AF65-F5344CB8AC3E}">
        <p14:creationId xmlns:p14="http://schemas.microsoft.com/office/powerpoint/2010/main" val="161283987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ext">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1416744"/>
            <a:ext cx="12192000" cy="4868658"/>
          </a:xfrm>
          <a:prstGeom prst="rect">
            <a:avLst/>
          </a:prstGeom>
          <a:solidFill>
            <a:srgbClr val="D3553F">
              <a:alpha val="7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flipV="1">
            <a:off x="1412924" y="1810513"/>
            <a:ext cx="0" cy="4474889"/>
          </a:xfrm>
          <a:prstGeom prst="line">
            <a:avLst/>
          </a:prstGeom>
          <a:ln w="12700" cap="rnd">
            <a:solidFill>
              <a:srgbClr val="43ABB6"/>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12" name="Marcador de texto 3">
            <a:extLst>
              <a:ext uri="{FF2B5EF4-FFF2-40B4-BE49-F238E27FC236}">
                <a16:creationId xmlns:a16="http://schemas.microsoft.com/office/drawing/2014/main" id="{3974C69A-6261-7D41-967B-C63248DB01A4}"/>
              </a:ext>
            </a:extLst>
          </p:cNvPr>
          <p:cNvSpPr>
            <a:spLocks noGrp="1"/>
          </p:cNvSpPr>
          <p:nvPr>
            <p:ph type="body" sz="quarter" idx="20" hasCustomPrompt="1"/>
          </p:nvPr>
        </p:nvSpPr>
        <p:spPr>
          <a:xfrm>
            <a:off x="1609231" y="1694689"/>
            <a:ext cx="9169841" cy="4321894"/>
          </a:xfrm>
        </p:spPr>
        <p:txBody>
          <a:bodyPr>
            <a:normAutofit/>
          </a:bodyPr>
          <a:lstStyle>
            <a:lvl1pPr marL="0" indent="0">
              <a:spcBef>
                <a:spcPts val="0"/>
              </a:spcBef>
              <a:spcAft>
                <a:spcPts val="900"/>
              </a:spcAft>
              <a:buSzPct val="80000"/>
              <a:buFont typeface="Arial" panose="020B0604020202020204" pitchFamily="34" charset="0"/>
              <a:buNone/>
              <a:defRPr sz="1500" b="0">
                <a:solidFill>
                  <a:srgbClr val="4C5B68"/>
                </a:solidFill>
              </a:defRPr>
            </a:lvl1pPr>
            <a:lvl2pPr>
              <a:spcAft>
                <a:spcPts val="900"/>
              </a:spcAft>
              <a:buClr>
                <a:srgbClr val="D3553F"/>
              </a:buClr>
              <a:defRPr lang="es-ES" sz="1500" b="0" kern="1200" spc="100" baseline="0" dirty="0">
                <a:solidFill>
                  <a:srgbClr val="4C5B68"/>
                </a:solidFill>
                <a:latin typeface="+mn-lt"/>
                <a:ea typeface="+mn-ea"/>
                <a:cs typeface="+mn-cs"/>
              </a:defRPr>
            </a:lvl2pPr>
            <a:lvl3pPr>
              <a:buClr>
                <a:srgbClr val="D3553F"/>
              </a:buClr>
              <a:defRPr lang="es-ES" sz="1500" b="0" kern="1200" spc="100" baseline="0" dirty="0">
                <a:solidFill>
                  <a:srgbClr val="4C5B68"/>
                </a:solidFill>
                <a:latin typeface="+mn-lt"/>
                <a:ea typeface="+mn-ea"/>
                <a:cs typeface="+mn-cs"/>
              </a:defRPr>
            </a:lvl3pPr>
            <a:lvl4pPr>
              <a:buClr>
                <a:srgbClr val="D3553F"/>
              </a:buClr>
              <a:defRPr lang="es-ES" sz="1500" b="0" kern="1200" spc="100" baseline="0" dirty="0">
                <a:solidFill>
                  <a:srgbClr val="4C5B68"/>
                </a:solidFill>
                <a:latin typeface="+mn-lt"/>
                <a:ea typeface="+mn-ea"/>
                <a:cs typeface="+mn-cs"/>
              </a:defRPr>
            </a:lvl4pPr>
            <a:lvl5pPr marL="9525" indent="0">
              <a:buClr>
                <a:srgbClr val="D3553F"/>
              </a:buClr>
              <a:buNone/>
              <a:defRPr lang="es-ES" sz="1500" b="0" kern="1200" spc="100" baseline="0" dirty="0">
                <a:solidFill>
                  <a:srgbClr val="4C5B68"/>
                </a:solidFill>
                <a:latin typeface="+mn-lt"/>
                <a:ea typeface="+mn-ea"/>
                <a:cs typeface="+mn-cs"/>
              </a:defRPr>
            </a:lvl5pPr>
          </a:lstStyle>
          <a:p>
            <a:pPr lvl="0"/>
            <a:r>
              <a:rPr lang="es-ES"/>
              <a:t>Text</a:t>
            </a:r>
          </a:p>
          <a:p>
            <a:pPr lvl="1"/>
            <a:r>
              <a:rPr lang="es-ES"/>
              <a:t>Text</a:t>
            </a:r>
          </a:p>
        </p:txBody>
      </p:sp>
    </p:spTree>
    <p:extLst>
      <p:ext uri="{BB962C8B-B14F-4D97-AF65-F5344CB8AC3E}">
        <p14:creationId xmlns:p14="http://schemas.microsoft.com/office/powerpoint/2010/main" val="121588454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
        <p:nvSpPr>
          <p:cNvPr id="5" name="Marcador de tabla 4">
            <a:extLst>
              <a:ext uri="{FF2B5EF4-FFF2-40B4-BE49-F238E27FC236}">
                <a16:creationId xmlns:a16="http://schemas.microsoft.com/office/drawing/2014/main" id="{C437BADD-9329-874D-9AF5-C8C007C4977A}"/>
              </a:ext>
            </a:extLst>
          </p:cNvPr>
          <p:cNvSpPr>
            <a:spLocks noGrp="1"/>
          </p:cNvSpPr>
          <p:nvPr>
            <p:ph type="tbl" sz="quarter" idx="11" hasCustomPrompt="1"/>
          </p:nvPr>
        </p:nvSpPr>
        <p:spPr>
          <a:xfrm>
            <a:off x="1693863" y="1555147"/>
            <a:ext cx="8804275" cy="4618721"/>
          </a:xfrm>
        </p:spPr>
        <p:txBody>
          <a:bodyPr bIns="576000" anchor="ctr" anchorCtr="0"/>
          <a:lstStyle>
            <a:lvl1pPr algn="ctr">
              <a:defRPr sz="1800" b="1"/>
            </a:lvl1pPr>
          </a:lstStyle>
          <a:p>
            <a:r>
              <a:rPr lang="en-GB"/>
              <a:t>Table</a:t>
            </a:r>
          </a:p>
        </p:txBody>
      </p:sp>
    </p:spTree>
    <p:extLst>
      <p:ext uri="{BB962C8B-B14F-4D97-AF65-F5344CB8AC3E}">
        <p14:creationId xmlns:p14="http://schemas.microsoft.com/office/powerpoint/2010/main" val="119447343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no content">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hasCustomPrompt="1"/>
          </p:nvPr>
        </p:nvSpPr>
        <p:spPr/>
        <p:txBody>
          <a:bodyPr/>
          <a:lstStyle/>
          <a:p>
            <a:r>
              <a:rPr lang="es-ES"/>
              <a:t>TITLE</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Tree>
    <p:extLst>
      <p:ext uri="{BB962C8B-B14F-4D97-AF65-F5344CB8AC3E}">
        <p14:creationId xmlns:p14="http://schemas.microsoft.com/office/powerpoint/2010/main" val="17107250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no content_2">
    <p:spTree>
      <p:nvGrpSpPr>
        <p:cNvPr id="1" name=""/>
        <p:cNvGrpSpPr/>
        <p:nvPr/>
      </p:nvGrpSpPr>
      <p:grpSpPr>
        <a:xfrm>
          <a:off x="0" y="0"/>
          <a:ext cx="0" cy="0"/>
          <a:chOff x="0" y="0"/>
          <a:chExt cx="0" cy="0"/>
        </a:xfrm>
      </p:grpSpPr>
      <p:sp>
        <p:nvSpPr>
          <p:cNvPr id="4" name="Marcador de texto 11">
            <a:extLst>
              <a:ext uri="{FF2B5EF4-FFF2-40B4-BE49-F238E27FC236}">
                <a16:creationId xmlns:a16="http://schemas.microsoft.com/office/drawing/2014/main" id="{0AFD4288-DB73-A342-8E51-DD452A9C3792}"/>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TITLE</a:t>
            </a:r>
          </a:p>
        </p:txBody>
      </p:sp>
    </p:spTree>
    <p:extLst>
      <p:ext uri="{BB962C8B-B14F-4D97-AF65-F5344CB8AC3E}">
        <p14:creationId xmlns:p14="http://schemas.microsoft.com/office/powerpoint/2010/main" val="426783556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386621722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arcador de texto 11">
            <a:extLst>
              <a:ext uri="{FF2B5EF4-FFF2-40B4-BE49-F238E27FC236}">
                <a16:creationId xmlns:a16="http://schemas.microsoft.com/office/drawing/2014/main" id="{C8ABE6D1-6F90-5143-9E46-81A6567A5080}"/>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Tree>
    <p:extLst>
      <p:ext uri="{BB962C8B-B14F-4D97-AF65-F5344CB8AC3E}">
        <p14:creationId xmlns:p14="http://schemas.microsoft.com/office/powerpoint/2010/main" val="154840352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sp>
        <p:nvSpPr>
          <p:cNvPr id="3" name="Forma libre 52">
            <a:extLst>
              <a:ext uri="{FF2B5EF4-FFF2-40B4-BE49-F238E27FC236}">
                <a16:creationId xmlns:a16="http://schemas.microsoft.com/office/drawing/2014/main" id="{588D54C6-6060-4EFD-B0A3-3A19C272912E}"/>
              </a:ext>
            </a:extLst>
          </p:cNvPr>
          <p:cNvSpPr/>
          <p:nvPr userDrawn="1"/>
        </p:nvSpPr>
        <p:spPr>
          <a:xfrm>
            <a:off x="590958" y="0"/>
            <a:ext cx="6234162" cy="4275244"/>
          </a:xfrm>
          <a:custGeom>
            <a:avLst/>
            <a:gdLst>
              <a:gd name="connsiteX0" fmla="*/ 224773 w 6234162"/>
              <a:gd name="connsiteY0" fmla="*/ 0 h 4275244"/>
              <a:gd name="connsiteX1" fmla="*/ 6009390 w 6234162"/>
              <a:gd name="connsiteY1" fmla="*/ 0 h 4275244"/>
              <a:gd name="connsiteX2" fmla="*/ 6094024 w 6234162"/>
              <a:gd name="connsiteY2" fmla="*/ 231240 h 4275244"/>
              <a:gd name="connsiteX3" fmla="*/ 6234162 w 6234162"/>
              <a:gd name="connsiteY3" fmla="*/ 1158164 h 4275244"/>
              <a:gd name="connsiteX4" fmla="*/ 3117081 w 6234162"/>
              <a:gd name="connsiteY4" fmla="*/ 4275244 h 4275244"/>
              <a:gd name="connsiteX5" fmla="*/ 0 w 6234162"/>
              <a:gd name="connsiteY5" fmla="*/ 1158164 h 4275244"/>
              <a:gd name="connsiteX6" fmla="*/ 140138 w 6234162"/>
              <a:gd name="connsiteY6" fmla="*/ 231240 h 427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4162" h="4275244">
                <a:moveTo>
                  <a:pt x="224773" y="0"/>
                </a:moveTo>
                <a:lnTo>
                  <a:pt x="6009390" y="0"/>
                </a:lnTo>
                <a:lnTo>
                  <a:pt x="6094024" y="231240"/>
                </a:lnTo>
                <a:cubicBezTo>
                  <a:pt x="6185099" y="524055"/>
                  <a:pt x="6234162" y="835380"/>
                  <a:pt x="6234162" y="1158164"/>
                </a:cubicBezTo>
                <a:cubicBezTo>
                  <a:pt x="6234162" y="2879680"/>
                  <a:pt x="4838597" y="4275244"/>
                  <a:pt x="3117081" y="4275244"/>
                </a:cubicBezTo>
                <a:cubicBezTo>
                  <a:pt x="1395565" y="4275244"/>
                  <a:pt x="0" y="2879680"/>
                  <a:pt x="0" y="1158164"/>
                </a:cubicBezTo>
                <a:cubicBezTo>
                  <a:pt x="0" y="835380"/>
                  <a:pt x="49063" y="524055"/>
                  <a:pt x="140138" y="231240"/>
                </a:cubicBez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4" name="Rectángulo 3">
            <a:extLst>
              <a:ext uri="{FF2B5EF4-FFF2-40B4-BE49-F238E27FC236}">
                <a16:creationId xmlns:a16="http://schemas.microsoft.com/office/drawing/2014/main" id="{8982829C-D174-4E44-A50A-27E2A5EF69B5}"/>
              </a:ext>
            </a:extLst>
          </p:cNvPr>
          <p:cNvSpPr/>
          <p:nvPr userDrawn="1"/>
        </p:nvSpPr>
        <p:spPr>
          <a:xfrm>
            <a:off x="596853" y="3928877"/>
            <a:ext cx="5751350" cy="2376673"/>
          </a:xfrm>
          <a:prstGeom prst="rect">
            <a:avLst/>
          </a:prstGeom>
          <a:noFill/>
          <a:ln w="12700" cap="flat" cmpd="sng" algn="ctr">
            <a:solidFill>
              <a:srgbClr val="5A2259">
                <a:alpha val="5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5" name="Conector recto 4">
            <a:extLst>
              <a:ext uri="{FF2B5EF4-FFF2-40B4-BE49-F238E27FC236}">
                <a16:creationId xmlns:a16="http://schemas.microsoft.com/office/drawing/2014/main" id="{07725686-1765-4D39-B5F5-091C7C9289CC}"/>
              </a:ext>
            </a:extLst>
          </p:cNvPr>
          <p:cNvCxnSpPr>
            <a:cxnSpLocks/>
          </p:cNvCxnSpPr>
          <p:nvPr userDrawn="1"/>
        </p:nvCxnSpPr>
        <p:spPr>
          <a:xfrm>
            <a:off x="949601" y="5322823"/>
            <a:ext cx="0" cy="566802"/>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6" name="Rectángulo 5">
            <a:extLst>
              <a:ext uri="{FF2B5EF4-FFF2-40B4-BE49-F238E27FC236}">
                <a16:creationId xmlns:a16="http://schemas.microsoft.com/office/drawing/2014/main" id="{61101015-A574-47DB-9B8C-4F865E76CCE5}"/>
              </a:ext>
            </a:extLst>
          </p:cNvPr>
          <p:cNvSpPr/>
          <p:nvPr userDrawn="1"/>
        </p:nvSpPr>
        <p:spPr>
          <a:xfrm>
            <a:off x="716255" y="382436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7" name="Rectángulo 6">
            <a:extLst>
              <a:ext uri="{FF2B5EF4-FFF2-40B4-BE49-F238E27FC236}">
                <a16:creationId xmlns:a16="http://schemas.microsoft.com/office/drawing/2014/main" id="{97651F23-9E3C-466E-872B-B5FA0E91F3DD}"/>
              </a:ext>
            </a:extLst>
          </p:cNvPr>
          <p:cNvSpPr/>
          <p:nvPr userDrawn="1"/>
        </p:nvSpPr>
        <p:spPr>
          <a:xfrm>
            <a:off x="0" y="888164"/>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4" name="Rectángulo 13">
            <a:extLst>
              <a:ext uri="{FF2B5EF4-FFF2-40B4-BE49-F238E27FC236}">
                <a16:creationId xmlns:a16="http://schemas.microsoft.com/office/drawing/2014/main" id="{78D57CF9-A3A0-4A36-AE0F-DA407CE9BD82}"/>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7" name="Forma libre: forma 16">
            <a:extLst>
              <a:ext uri="{FF2B5EF4-FFF2-40B4-BE49-F238E27FC236}">
                <a16:creationId xmlns:a16="http://schemas.microsoft.com/office/drawing/2014/main" id="{D22FDBD4-30A9-44A7-98A9-8439D09E051A}"/>
              </a:ext>
            </a:extLst>
          </p:cNvPr>
          <p:cNvSpPr>
            <a:spLocks noGrp="1"/>
          </p:cNvSpPr>
          <p:nvPr>
            <p:ph type="pic" sz="quarter" idx="10"/>
          </p:nvPr>
        </p:nvSpPr>
        <p:spPr bwMode="auto">
          <a:xfrm>
            <a:off x="4295778" y="0"/>
            <a:ext cx="7896225" cy="6858000"/>
          </a:xfrm>
          <a:custGeom>
            <a:avLst/>
            <a:gdLst>
              <a:gd name="connsiteX0" fmla="*/ 0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225" h="6858000">
                <a:moveTo>
                  <a:pt x="0" y="0"/>
                </a:moveTo>
                <a:lnTo>
                  <a:pt x="3429000" y="0"/>
                </a:lnTo>
                <a:lnTo>
                  <a:pt x="5805692" y="0"/>
                </a:lnTo>
                <a:lnTo>
                  <a:pt x="7896225" y="0"/>
                </a:lnTo>
                <a:lnTo>
                  <a:pt x="7896225" y="6858000"/>
                </a:lnTo>
                <a:lnTo>
                  <a:pt x="3429000" y="6858000"/>
                </a:lnTo>
                <a:cubicBezTo>
                  <a:pt x="1535217" y="6858000"/>
                  <a:pt x="0" y="5322784"/>
                  <a:pt x="0" y="3429000"/>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endParaRPr lang="en-GB"/>
          </a:p>
        </p:txBody>
      </p:sp>
      <p:sp>
        <p:nvSpPr>
          <p:cNvPr id="23" name="Marcador de texto 21">
            <a:extLst>
              <a:ext uri="{FF2B5EF4-FFF2-40B4-BE49-F238E27FC236}">
                <a16:creationId xmlns:a16="http://schemas.microsoft.com/office/drawing/2014/main" id="{D507B8B4-E19C-479C-9DE0-7123B3377FCD}"/>
              </a:ext>
            </a:extLst>
          </p:cNvPr>
          <p:cNvSpPr>
            <a:spLocks noGrp="1"/>
          </p:cNvSpPr>
          <p:nvPr>
            <p:ph type="body" sz="quarter" idx="12" hasCustomPrompt="1"/>
          </p:nvPr>
        </p:nvSpPr>
        <p:spPr>
          <a:xfrm>
            <a:off x="1093521" y="5781269"/>
            <a:ext cx="3953466" cy="497069"/>
          </a:xfrm>
        </p:spPr>
        <p:txBody>
          <a:bodyPr>
            <a:normAutofit/>
          </a:bodyPr>
          <a:lstStyle>
            <a:lvl1pPr>
              <a:defRPr sz="1400" spc="100" baseline="0">
                <a:solidFill>
                  <a:srgbClr val="5A2259">
                    <a:alpha val="55000"/>
                  </a:srgbClr>
                </a:solidFill>
              </a:defRPr>
            </a:lvl1pPr>
          </a:lstStyle>
          <a:p>
            <a:pPr lvl="0"/>
            <a:r>
              <a:rPr lang="en-US" noProof="0"/>
              <a:t>Lorem ipsum dolor sit </a:t>
            </a:r>
            <a:r>
              <a:rPr lang="en-US" noProof="0" err="1"/>
              <a:t>amet</a:t>
            </a:r>
            <a:r>
              <a:rPr lang="en-US" noProof="0"/>
              <a:t> </a:t>
            </a:r>
            <a:r>
              <a:rPr lang="en-US" noProof="0" err="1"/>
              <a:t>consectetur</a:t>
            </a:r>
            <a:r>
              <a:rPr lang="en-US" noProof="0"/>
              <a:t> </a:t>
            </a:r>
            <a:r>
              <a:rPr lang="en-US" noProof="0" err="1"/>
              <a:t>adipiscing</a:t>
            </a:r>
            <a:r>
              <a:rPr lang="en-US" noProof="0"/>
              <a:t> </a:t>
            </a:r>
            <a:r>
              <a:rPr lang="en-US" noProof="0" err="1"/>
              <a:t>elit</a:t>
            </a:r>
            <a:endParaRPr lang="en-US" noProof="0"/>
          </a:p>
        </p:txBody>
      </p:sp>
      <p:sp>
        <p:nvSpPr>
          <p:cNvPr id="24" name="Título 17">
            <a:extLst>
              <a:ext uri="{FF2B5EF4-FFF2-40B4-BE49-F238E27FC236}">
                <a16:creationId xmlns:a16="http://schemas.microsoft.com/office/drawing/2014/main" id="{1DF1DE5B-FD30-4B66-8167-26428D83AFC6}"/>
              </a:ext>
            </a:extLst>
          </p:cNvPr>
          <p:cNvSpPr>
            <a:spLocks noGrp="1"/>
          </p:cNvSpPr>
          <p:nvPr>
            <p:ph type="title" hasCustomPrompt="1"/>
          </p:nvPr>
        </p:nvSpPr>
        <p:spPr>
          <a:xfrm>
            <a:off x="1093521" y="3986157"/>
            <a:ext cx="3132000" cy="831850"/>
          </a:xfrm>
          <a:prstGeom prst="rect">
            <a:avLst/>
          </a:prstGeom>
        </p:spPr>
        <p:txBody>
          <a:bodyPr anchor="b">
            <a:normAutofit/>
          </a:bodyPr>
          <a:lstStyle>
            <a:lvl1pPr>
              <a:lnSpc>
                <a:spcPts val="2700"/>
              </a:lnSpc>
              <a:defRPr sz="2800" b="0" cap="all" spc="300" baseline="0">
                <a:solidFill>
                  <a:srgbClr val="FFFFFF"/>
                </a:solidFill>
              </a:defRPr>
            </a:lvl1pPr>
          </a:lstStyle>
          <a:p>
            <a:r>
              <a:rPr lang="en-US" noProof="0"/>
              <a:t>Title of presentation</a:t>
            </a:r>
          </a:p>
        </p:txBody>
      </p:sp>
      <p:sp>
        <p:nvSpPr>
          <p:cNvPr id="25" name="Marcador de texto 19">
            <a:extLst>
              <a:ext uri="{FF2B5EF4-FFF2-40B4-BE49-F238E27FC236}">
                <a16:creationId xmlns:a16="http://schemas.microsoft.com/office/drawing/2014/main" id="{EB4A48CE-E482-4DB4-A38F-F21F03055772}"/>
              </a:ext>
            </a:extLst>
          </p:cNvPr>
          <p:cNvSpPr>
            <a:spLocks noGrp="1"/>
          </p:cNvSpPr>
          <p:nvPr>
            <p:ph type="body" sz="quarter" idx="11" hasCustomPrompt="1"/>
          </p:nvPr>
        </p:nvSpPr>
        <p:spPr>
          <a:xfrm>
            <a:off x="1093521" y="4819207"/>
            <a:ext cx="3132000" cy="831850"/>
          </a:xfrm>
        </p:spPr>
        <p:txBody>
          <a:bodyPr>
            <a:normAutofit/>
          </a:bodyPr>
          <a:lstStyle>
            <a:lvl1pPr>
              <a:lnSpc>
                <a:spcPts val="1760"/>
              </a:lnSpc>
              <a:spcBef>
                <a:spcPts val="0"/>
              </a:spcBef>
              <a:defRPr sz="1800" b="0">
                <a:solidFill>
                  <a:srgbClr val="FFFFFF">
                    <a:alpha val="85000"/>
                  </a:srgbClr>
                </a:solidFill>
                <a:latin typeface="Franklin Gothic Medium" panose="020B0603020102020204" pitchFamily="34" charset="0"/>
              </a:defRPr>
            </a:lvl1pPr>
          </a:lstStyle>
          <a:p>
            <a:pPr lvl="0"/>
            <a:r>
              <a:rPr lang="en-US" noProof="0"/>
              <a:t>Subtitle of presentation. </a:t>
            </a:r>
          </a:p>
        </p:txBody>
      </p:sp>
      <p:pic>
        <p:nvPicPr>
          <p:cNvPr id="12" name="Picture 2">
            <a:extLst>
              <a:ext uri="{FF2B5EF4-FFF2-40B4-BE49-F238E27FC236}">
                <a16:creationId xmlns:a16="http://schemas.microsoft.com/office/drawing/2014/main" id="{C8FE2267-F533-4049-A98E-29FD204DB16A}"/>
              </a:ext>
            </a:extLst>
          </p:cNvPr>
          <p:cNvPicPr>
            <a:picLocks noChangeAspect="1"/>
          </p:cNvPicPr>
          <p:nvPr userDrawn="1"/>
        </p:nvPicPr>
        <p:blipFill>
          <a:blip r:embed="rId2"/>
          <a:srcRect/>
          <a:stretch/>
        </p:blipFill>
        <p:spPr>
          <a:xfrm>
            <a:off x="577516" y="373821"/>
            <a:ext cx="3128209" cy="1564105"/>
          </a:xfrm>
          <a:prstGeom prst="rect">
            <a:avLst/>
          </a:prstGeom>
        </p:spPr>
      </p:pic>
    </p:spTree>
    <p:extLst>
      <p:ext uri="{BB962C8B-B14F-4D97-AF65-F5344CB8AC3E}">
        <p14:creationId xmlns:p14="http://schemas.microsoft.com/office/powerpoint/2010/main" val="160755064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30" name="Imagen 29">
            <a:extLst>
              <a:ext uri="{FF2B5EF4-FFF2-40B4-BE49-F238E27FC236}">
                <a16:creationId xmlns:a16="http://schemas.microsoft.com/office/drawing/2014/main" id="{552DB941-CD81-43C2-9023-BE2DBAB950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8692340" cy="6858000"/>
          </a:xfrm>
          <a:prstGeom prst="rect">
            <a:avLst/>
          </a:prstGeom>
        </p:spPr>
      </p:pic>
      <p:sp>
        <p:nvSpPr>
          <p:cNvPr id="31" name="Rectángulo 30">
            <a:extLst>
              <a:ext uri="{FF2B5EF4-FFF2-40B4-BE49-F238E27FC236}">
                <a16:creationId xmlns:a16="http://schemas.microsoft.com/office/drawing/2014/main" id="{A9010316-8E0A-4F87-BC73-CAF1178827CD}"/>
              </a:ext>
            </a:extLst>
          </p:cNvPr>
          <p:cNvSpPr/>
          <p:nvPr userDrawn="1"/>
        </p:nvSpPr>
        <p:spPr>
          <a:xfrm>
            <a:off x="0" y="0"/>
            <a:ext cx="12192000" cy="6858000"/>
          </a:xfrm>
          <a:prstGeom prst="rect">
            <a:avLst/>
          </a:prstGeom>
          <a:solidFill>
            <a:srgbClr val="5A2259">
              <a:alpha val="8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33" name="Rectángulo 32">
            <a:extLst>
              <a:ext uri="{FF2B5EF4-FFF2-40B4-BE49-F238E27FC236}">
                <a16:creationId xmlns:a16="http://schemas.microsoft.com/office/drawing/2014/main" id="{CC847C2E-02D5-487A-8F06-4EE732248FE2}"/>
              </a:ext>
            </a:extLst>
          </p:cNvPr>
          <p:cNvSpPr/>
          <p:nvPr userDrawn="1"/>
        </p:nvSpPr>
        <p:spPr>
          <a:xfrm>
            <a:off x="688293" y="4750444"/>
            <a:ext cx="5751350" cy="1430306"/>
          </a:xfrm>
          <a:prstGeom prst="rect">
            <a:avLst/>
          </a:prstGeom>
          <a:noFill/>
          <a:ln w="127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34" name="Rectángulo 33">
            <a:extLst>
              <a:ext uri="{FF2B5EF4-FFF2-40B4-BE49-F238E27FC236}">
                <a16:creationId xmlns:a16="http://schemas.microsoft.com/office/drawing/2014/main" id="{4D2BD5A6-0B1B-40CE-AFCE-727CAF0E0697}"/>
              </a:ext>
            </a:extLst>
          </p:cNvPr>
          <p:cNvSpPr/>
          <p:nvPr userDrawn="1"/>
        </p:nvSpPr>
        <p:spPr>
          <a:xfrm>
            <a:off x="688291" y="4040040"/>
            <a:ext cx="710203" cy="710404"/>
          </a:xfrm>
          <a:prstGeom prst="rect">
            <a:avLst/>
          </a:prstGeom>
          <a:solidFill>
            <a:schemeClr val="bg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chemeClr val="bg1"/>
              </a:solidFill>
              <a:latin typeface="Arial" pitchFamily="34" charset="0"/>
              <a:cs typeface="Arial" pitchFamily="34" charset="0"/>
            </a:endParaRPr>
          </a:p>
        </p:txBody>
      </p:sp>
      <p:sp>
        <p:nvSpPr>
          <p:cNvPr id="40" name="Rectángulo 39">
            <a:extLst>
              <a:ext uri="{FF2B5EF4-FFF2-40B4-BE49-F238E27FC236}">
                <a16:creationId xmlns:a16="http://schemas.microsoft.com/office/drawing/2014/main" id="{46C1DD1E-A1B6-433A-9308-9E804090A231}"/>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47" name="Forma libre: forma 46">
            <a:extLst>
              <a:ext uri="{FF2B5EF4-FFF2-40B4-BE49-F238E27FC236}">
                <a16:creationId xmlns:a16="http://schemas.microsoft.com/office/drawing/2014/main" id="{8C90463E-5889-4113-BAFF-4D4CF6426B90}"/>
              </a:ext>
            </a:extLst>
          </p:cNvPr>
          <p:cNvSpPr>
            <a:spLocks noGrp="1"/>
          </p:cNvSpPr>
          <p:nvPr>
            <p:ph type="pic" sz="quarter" idx="10"/>
          </p:nvPr>
        </p:nvSpPr>
        <p:spPr bwMode="auto">
          <a:xfrm>
            <a:off x="4295778" y="0"/>
            <a:ext cx="7896225" cy="6858000"/>
          </a:xfrm>
          <a:custGeom>
            <a:avLst/>
            <a:gdLst>
              <a:gd name="connsiteX0" fmla="*/ 536318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 name="connsiteX7" fmla="*/ 0 w 7896225"/>
              <a:gd name="connsiteY7" fmla="*/ 1578902 h 6858000"/>
              <a:gd name="connsiteX8" fmla="*/ 97443 w 7896225"/>
              <a:gd name="connsiteY8" fmla="*/ 1439219 h 6858000"/>
              <a:gd name="connsiteX9" fmla="*/ 526325 w 7896225"/>
              <a:gd name="connsiteY9" fmla="*/ 1978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225" h="6858000">
                <a:moveTo>
                  <a:pt x="536318" y="0"/>
                </a:moveTo>
                <a:lnTo>
                  <a:pt x="3429000" y="0"/>
                </a:lnTo>
                <a:lnTo>
                  <a:pt x="5805692" y="0"/>
                </a:lnTo>
                <a:lnTo>
                  <a:pt x="7896225" y="0"/>
                </a:lnTo>
                <a:lnTo>
                  <a:pt x="7896225" y="6858000"/>
                </a:lnTo>
                <a:lnTo>
                  <a:pt x="3429000" y="6858000"/>
                </a:lnTo>
                <a:cubicBezTo>
                  <a:pt x="1535218" y="6858000"/>
                  <a:pt x="0" y="5322784"/>
                  <a:pt x="0" y="3429000"/>
                </a:cubicBezTo>
                <a:lnTo>
                  <a:pt x="0" y="1578902"/>
                </a:lnTo>
                <a:lnTo>
                  <a:pt x="97443" y="1439219"/>
                </a:lnTo>
                <a:cubicBezTo>
                  <a:pt x="329074" y="1073090"/>
                  <a:pt x="480306" y="651045"/>
                  <a:pt x="526325" y="197896"/>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endParaRPr lang="en-GB"/>
          </a:p>
        </p:txBody>
      </p:sp>
      <p:sp>
        <p:nvSpPr>
          <p:cNvPr id="48" name="Forma libre: forma 47">
            <a:extLst>
              <a:ext uri="{FF2B5EF4-FFF2-40B4-BE49-F238E27FC236}">
                <a16:creationId xmlns:a16="http://schemas.microsoft.com/office/drawing/2014/main" id="{54A7AC35-48B5-49F1-9EE9-6939CC5BC3F3}"/>
              </a:ext>
            </a:extLst>
          </p:cNvPr>
          <p:cNvSpPr/>
          <p:nvPr userDrawn="1"/>
        </p:nvSpPr>
        <p:spPr>
          <a:xfrm>
            <a:off x="0" y="0"/>
            <a:ext cx="4832096" cy="2779550"/>
          </a:xfrm>
          <a:custGeom>
            <a:avLst/>
            <a:gdLst>
              <a:gd name="connsiteX0" fmla="*/ 0 w 4832096"/>
              <a:gd name="connsiteY0" fmla="*/ 0 h 2779550"/>
              <a:gd name="connsiteX1" fmla="*/ 4832096 w 4832096"/>
              <a:gd name="connsiteY1" fmla="*/ 0 h 2779550"/>
              <a:gd name="connsiteX2" fmla="*/ 4822103 w 4832096"/>
              <a:gd name="connsiteY2" fmla="*/ 197896 h 2779550"/>
              <a:gd name="connsiteX3" fmla="*/ 1961275 w 4832096"/>
              <a:gd name="connsiteY3" fmla="*/ 2779550 h 2779550"/>
              <a:gd name="connsiteX4" fmla="*/ 132079 w 4832096"/>
              <a:gd name="connsiteY4" fmla="*/ 2122886 h 2779550"/>
              <a:gd name="connsiteX5" fmla="*/ 0 w 4832096"/>
              <a:gd name="connsiteY5" fmla="*/ 2002844 h 27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2096" h="2779550">
                <a:moveTo>
                  <a:pt x="0" y="0"/>
                </a:moveTo>
                <a:lnTo>
                  <a:pt x="4832096" y="0"/>
                </a:lnTo>
                <a:lnTo>
                  <a:pt x="4822103" y="197896"/>
                </a:lnTo>
                <a:cubicBezTo>
                  <a:pt x="4674840" y="1647972"/>
                  <a:pt x="3450204" y="2779550"/>
                  <a:pt x="1961275" y="2779550"/>
                </a:cubicBezTo>
                <a:cubicBezTo>
                  <a:pt x="1266442" y="2779550"/>
                  <a:pt x="629165" y="2533118"/>
                  <a:pt x="132079" y="2122886"/>
                </a:cubicBezTo>
                <a:lnTo>
                  <a:pt x="0" y="2002844"/>
                </a:ln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R="0" lvl="0" indent="0" algn="ctr" defTabSz="457200" fontAlgn="auto">
              <a:lnSpc>
                <a:spcPct val="100000"/>
              </a:lnSpc>
              <a:spcBef>
                <a:spcPts val="0"/>
              </a:spcBef>
              <a:spcAft>
                <a:spcPts val="0"/>
              </a:spcAft>
              <a:buClrTx/>
              <a:buSzTx/>
              <a:buFontTx/>
              <a:buNone/>
              <a:tabLst/>
            </a:pPr>
            <a:endParaRPr kumimoji="0" lang="en-GB" sz="1400" b="0" i="0" u="none" strike="noStrike" cap="none" spc="0" normalizeH="0" baseline="0" err="1">
              <a:ln>
                <a:noFill/>
              </a:ln>
              <a:solidFill>
                <a:srgbClr val="000000"/>
              </a:solidFill>
              <a:effectLst/>
              <a:uLnTx/>
              <a:uFillTx/>
              <a:latin typeface="Arial" pitchFamily="34" charset="0"/>
              <a:cs typeface="Arial" pitchFamily="34" charset="0"/>
            </a:endParaRPr>
          </a:p>
        </p:txBody>
      </p:sp>
      <p:sp>
        <p:nvSpPr>
          <p:cNvPr id="50" name="Título 17">
            <a:extLst>
              <a:ext uri="{FF2B5EF4-FFF2-40B4-BE49-F238E27FC236}">
                <a16:creationId xmlns:a16="http://schemas.microsoft.com/office/drawing/2014/main" id="{BFB3B7EA-0E87-4A80-A9F2-1B7D2C2D839C}"/>
              </a:ext>
            </a:extLst>
          </p:cNvPr>
          <p:cNvSpPr>
            <a:spLocks noGrp="1"/>
          </p:cNvSpPr>
          <p:nvPr>
            <p:ph type="title" hasCustomPrompt="1"/>
          </p:nvPr>
        </p:nvSpPr>
        <p:spPr>
          <a:xfrm>
            <a:off x="960171" y="4795129"/>
            <a:ext cx="3554680" cy="1340306"/>
          </a:xfrm>
          <a:prstGeom prst="rect">
            <a:avLst/>
          </a:prstGeom>
        </p:spPr>
        <p:txBody>
          <a:bodyPr anchor="ctr">
            <a:normAutofit/>
          </a:bodyPr>
          <a:lstStyle>
            <a:lvl1pPr>
              <a:lnSpc>
                <a:spcPct val="100000"/>
              </a:lnSpc>
              <a:defRPr sz="3200" b="0" cap="all" spc="300" baseline="0">
                <a:solidFill>
                  <a:srgbClr val="FFFFFF"/>
                </a:solidFill>
              </a:defRPr>
            </a:lvl1pPr>
          </a:lstStyle>
          <a:p>
            <a:r>
              <a:rPr lang="en-US" noProof="0"/>
              <a:t>Title of chapter</a:t>
            </a:r>
          </a:p>
        </p:txBody>
      </p:sp>
      <p:sp>
        <p:nvSpPr>
          <p:cNvPr id="11" name="Marcador de texto 10">
            <a:extLst>
              <a:ext uri="{FF2B5EF4-FFF2-40B4-BE49-F238E27FC236}">
                <a16:creationId xmlns:a16="http://schemas.microsoft.com/office/drawing/2014/main" id="{788D902E-AC33-418A-A733-04BA6C555701}"/>
              </a:ext>
            </a:extLst>
          </p:cNvPr>
          <p:cNvSpPr>
            <a:spLocks noGrp="1"/>
          </p:cNvSpPr>
          <p:nvPr>
            <p:ph type="body" sz="quarter" idx="11" hasCustomPrompt="1"/>
          </p:nvPr>
        </p:nvSpPr>
        <p:spPr>
          <a:xfrm>
            <a:off x="688287" y="3867150"/>
            <a:ext cx="710207" cy="1033950"/>
          </a:xfrm>
        </p:spPr>
        <p:txBody>
          <a:bodyPr anchor="ctr">
            <a:normAutofit/>
          </a:bodyPr>
          <a:lstStyle>
            <a:lvl1pPr algn="ctr">
              <a:defRPr sz="4400" b="0">
                <a:solidFill>
                  <a:srgbClr val="5A2259"/>
                </a:solidFill>
                <a:latin typeface="Franklin Gothic Medium" panose="020B0603020102020204" pitchFamily="34" charset="0"/>
              </a:defRPr>
            </a:lvl1pPr>
          </a:lstStyle>
          <a:p>
            <a:pPr lvl="0"/>
            <a:r>
              <a:rPr lang="es-ES"/>
              <a:t>#</a:t>
            </a:r>
            <a:endParaRPr lang="en-GB"/>
          </a:p>
        </p:txBody>
      </p:sp>
      <p:pic>
        <p:nvPicPr>
          <p:cNvPr id="51" name="Picture 2">
            <a:extLst>
              <a:ext uri="{FF2B5EF4-FFF2-40B4-BE49-F238E27FC236}">
                <a16:creationId xmlns:a16="http://schemas.microsoft.com/office/drawing/2014/main" id="{6E768F5F-F96A-4B3F-9D21-B9A9111F538B}"/>
              </a:ext>
            </a:extLst>
          </p:cNvPr>
          <p:cNvPicPr>
            <a:picLocks noChangeAspect="1"/>
          </p:cNvPicPr>
          <p:nvPr userDrawn="1"/>
        </p:nvPicPr>
        <p:blipFill>
          <a:blip r:embed="rId3"/>
          <a:srcRect/>
          <a:stretch/>
        </p:blipFill>
        <p:spPr>
          <a:xfrm>
            <a:off x="577516" y="373821"/>
            <a:ext cx="3128209" cy="1564105"/>
          </a:xfrm>
          <a:prstGeom prst="rect">
            <a:avLst/>
          </a:prstGeom>
        </p:spPr>
      </p:pic>
    </p:spTree>
    <p:extLst>
      <p:ext uri="{BB962C8B-B14F-4D97-AF65-F5344CB8AC3E}">
        <p14:creationId xmlns:p14="http://schemas.microsoft.com/office/powerpoint/2010/main" val="356449310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128297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83191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arcador de texto 11">
            <a:extLst>
              <a:ext uri="{FF2B5EF4-FFF2-40B4-BE49-F238E27FC236}">
                <a16:creationId xmlns:a16="http://schemas.microsoft.com/office/drawing/2014/main" id="{C8ABE6D1-6F90-5143-9E46-81A6567A5080}"/>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Tree>
    <p:extLst>
      <p:ext uri="{BB962C8B-B14F-4D97-AF65-F5344CB8AC3E}">
        <p14:creationId xmlns:p14="http://schemas.microsoft.com/office/powerpoint/2010/main" val="40620192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with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5793852" y="757830"/>
            <a:ext cx="5472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a:xfrm>
            <a:off x="5793852" y="480075"/>
            <a:ext cx="4212000" cy="308122"/>
          </a:xfrm>
        </p:spPr>
        <p:txBody>
          <a:bodyPr anchor="b"/>
          <a:lstStyle/>
          <a:p>
            <a:r>
              <a:rPr lang="es-ES"/>
              <a:t>Haga clic para modificar el estilo de título del patrón</a:t>
            </a:r>
            <a:endParaRPr lang="en-GB"/>
          </a:p>
        </p:txBody>
      </p:sp>
      <p:sp>
        <p:nvSpPr>
          <p:cNvPr id="34" name="Rectángulo 33">
            <a:extLst>
              <a:ext uri="{FF2B5EF4-FFF2-40B4-BE49-F238E27FC236}">
                <a16:creationId xmlns:a16="http://schemas.microsoft.com/office/drawing/2014/main" id="{62D147B5-EDB7-42AC-A836-CF89249A01FD}"/>
              </a:ext>
            </a:extLst>
          </p:cNvPr>
          <p:cNvSpPr/>
          <p:nvPr userDrawn="1"/>
        </p:nvSpPr>
        <p:spPr>
          <a:xfrm>
            <a:off x="0" y="1431234"/>
            <a:ext cx="12192000" cy="4784035"/>
          </a:xfrm>
          <a:prstGeom prst="rect">
            <a:avLst/>
          </a:prstGeom>
          <a:solidFill>
            <a:srgbClr val="8C9EAB">
              <a:alpha val="1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35" name="Forma libre: forma 34">
            <a:extLst>
              <a:ext uri="{FF2B5EF4-FFF2-40B4-BE49-F238E27FC236}">
                <a16:creationId xmlns:a16="http://schemas.microsoft.com/office/drawing/2014/main" id="{D552286A-F49C-42E7-A348-ADA9AC8D58BD}"/>
              </a:ext>
            </a:extLst>
          </p:cNvPr>
          <p:cNvSpPr/>
          <p:nvPr userDrawn="1"/>
        </p:nvSpPr>
        <p:spPr>
          <a:xfrm flipH="1">
            <a:off x="0" y="-48126"/>
            <a:ext cx="5534526" cy="6906124"/>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noFill/>
          <a:ln w="12700">
            <a:gradFill>
              <a:gsLst>
                <a:gs pos="0">
                  <a:schemeClr val="accent6"/>
                </a:gs>
                <a:gs pos="100000">
                  <a:srgbClr val="43ABB6"/>
                </a:gs>
              </a:gsLst>
              <a:lin ang="5400000" scaled="1"/>
            </a:gra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100" normalizeH="0" baseline="0" noProof="0" err="1">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36" name="Slide Number Placeholder 5">
            <a:extLst>
              <a:ext uri="{FF2B5EF4-FFF2-40B4-BE49-F238E27FC236}">
                <a16:creationId xmlns:a16="http://schemas.microsoft.com/office/drawing/2014/main" id="{5B692206-0B17-49CA-9101-C1F4D690BD5C}"/>
              </a:ext>
            </a:extLst>
          </p:cNvPr>
          <p:cNvSpPr txBox="1">
            <a:spLocks/>
          </p:cNvSpPr>
          <p:nvPr userDrawn="1"/>
        </p:nvSpPr>
        <p:spPr>
          <a:xfrm>
            <a:off x="560753" y="6483356"/>
            <a:ext cx="234462"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14D992F-7007-473D-9CAC-8B17A67E3C5E}" type="slidenum">
              <a:rPr kumimoji="0" lang="en-US" sz="900" b="0" i="0" u="none" strike="noStrike" kern="1200" cap="none" spc="0" normalizeH="0" baseline="0" noProof="0" smtClean="0">
                <a:ln>
                  <a:noFill/>
                </a:ln>
                <a:solidFill>
                  <a:srgbClr val="5A2259"/>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A2259"/>
              </a:solidFill>
              <a:effectLst/>
              <a:uLnTx/>
              <a:uFillTx/>
              <a:latin typeface="Arial"/>
              <a:ea typeface="+mn-ea"/>
              <a:cs typeface="+mn-cs"/>
            </a:endParaRPr>
          </a:p>
        </p:txBody>
      </p:sp>
      <p:sp>
        <p:nvSpPr>
          <p:cNvPr id="45" name="Rectángulo redondeado 97">
            <a:extLst>
              <a:ext uri="{FF2B5EF4-FFF2-40B4-BE49-F238E27FC236}">
                <a16:creationId xmlns:a16="http://schemas.microsoft.com/office/drawing/2014/main" id="{8BD2B99C-EA8C-48D9-AF37-F29645618C28}"/>
              </a:ext>
            </a:extLst>
          </p:cNvPr>
          <p:cNvSpPr/>
          <p:nvPr userDrawn="1"/>
        </p:nvSpPr>
        <p:spPr>
          <a:xfrm>
            <a:off x="6192252" y="1782026"/>
            <a:ext cx="5037221" cy="4317857"/>
          </a:xfrm>
          <a:prstGeom prst="roundRect">
            <a:avLst>
              <a:gd name="adj" fmla="val 6244"/>
            </a:avLst>
          </a:prstGeom>
          <a:noFill/>
          <a:ln w="12700">
            <a:solidFill>
              <a:schemeClr val="accent6"/>
            </a:soli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bIns="0" rtlCol="0" anchor="t"/>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100" normalizeH="0" baseline="0" noProof="0">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79" name="Rectángulo redondeado 71">
            <a:extLst>
              <a:ext uri="{FF2B5EF4-FFF2-40B4-BE49-F238E27FC236}">
                <a16:creationId xmlns:a16="http://schemas.microsoft.com/office/drawing/2014/main" id="{DFC4FC1E-20C6-4661-A371-E1E4034827F7}"/>
              </a:ext>
            </a:extLst>
          </p:cNvPr>
          <p:cNvSpPr/>
          <p:nvPr userDrawn="1"/>
        </p:nvSpPr>
        <p:spPr>
          <a:xfrm>
            <a:off x="6318437" y="1540560"/>
            <a:ext cx="5041525" cy="4498759"/>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81" name="Forma libre: forma 80">
            <a:extLst>
              <a:ext uri="{FF2B5EF4-FFF2-40B4-BE49-F238E27FC236}">
                <a16:creationId xmlns:a16="http://schemas.microsoft.com/office/drawing/2014/main" id="{47C4454F-FE9E-4768-923A-E5429EA367FA}"/>
              </a:ext>
            </a:extLst>
          </p:cNvPr>
          <p:cNvSpPr>
            <a:spLocks noGrp="1"/>
          </p:cNvSpPr>
          <p:nvPr>
            <p:ph type="pic" sz="quarter" idx="11"/>
          </p:nvPr>
        </p:nvSpPr>
        <p:spPr bwMode="auto">
          <a:xfrm>
            <a:off x="1" y="2"/>
            <a:ext cx="5404021" cy="6857998"/>
          </a:xfrm>
          <a:custGeom>
            <a:avLst/>
            <a:gdLst>
              <a:gd name="connsiteX0" fmla="*/ 0 w 5404021"/>
              <a:gd name="connsiteY0" fmla="*/ 0 h 6857998"/>
              <a:gd name="connsiteX1" fmla="*/ 4268336 w 5404021"/>
              <a:gd name="connsiteY1" fmla="*/ 0 h 6857998"/>
              <a:gd name="connsiteX2" fmla="*/ 4429268 w 5404021"/>
              <a:gd name="connsiteY2" fmla="*/ 177070 h 6857998"/>
              <a:gd name="connsiteX3" fmla="*/ 5404021 w 5404021"/>
              <a:gd name="connsiteY3" fmla="*/ 2892328 h 6857998"/>
              <a:gd name="connsiteX4" fmla="*/ 2796921 w 5404021"/>
              <a:gd name="connsiteY4" fmla="*/ 6825527 h 6857998"/>
              <a:gd name="connsiteX5" fmla="*/ 2714568 w 5404021"/>
              <a:gd name="connsiteY5" fmla="*/ 6857998 h 6857998"/>
              <a:gd name="connsiteX6" fmla="*/ 0 w 5404021"/>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1" h="6857998">
                <a:moveTo>
                  <a:pt x="0" y="0"/>
                </a:moveTo>
                <a:lnTo>
                  <a:pt x="4268336" y="0"/>
                </a:lnTo>
                <a:lnTo>
                  <a:pt x="4429268" y="177070"/>
                </a:lnTo>
                <a:cubicBezTo>
                  <a:pt x="5038216" y="914944"/>
                  <a:pt x="5404021" y="1860918"/>
                  <a:pt x="5404021" y="2892328"/>
                </a:cubicBezTo>
                <a:cubicBezTo>
                  <a:pt x="5404021" y="4660461"/>
                  <a:pt x="4329004" y="6177511"/>
                  <a:pt x="2796921" y="6825527"/>
                </a:cubicBezTo>
                <a:lnTo>
                  <a:pt x="2714568" y="6857998"/>
                </a:lnTo>
                <a:lnTo>
                  <a:pt x="0" y="6857998"/>
                </a:lnTo>
                <a:close/>
              </a:path>
            </a:pathLst>
          </a:custGeom>
          <a:noFill/>
          <a:ln w="9525">
            <a:noFill/>
            <a:miter lim="800000"/>
            <a:headEnd/>
            <a:tailEnd/>
          </a:ln>
        </p:spPr>
        <p:txBody>
          <a:bodyPr wrap="square" bIns="1260000" anchor="ctr">
            <a:noAutofit/>
          </a:bodyPr>
          <a:lstStyle>
            <a:lvl1pPr algn="ctr">
              <a:defRPr sz="1800" b="1"/>
            </a:lvl1pPr>
          </a:lstStyle>
          <a:p>
            <a:endParaRPr lang="en-GB"/>
          </a:p>
        </p:txBody>
      </p:sp>
      <p:sp>
        <p:nvSpPr>
          <p:cNvPr id="3" name="Marcador de texto 2">
            <a:extLst>
              <a:ext uri="{FF2B5EF4-FFF2-40B4-BE49-F238E27FC236}">
                <a16:creationId xmlns:a16="http://schemas.microsoft.com/office/drawing/2014/main" id="{876299E4-19BE-F24A-85E8-7BE02A89B4F9}"/>
              </a:ext>
            </a:extLst>
          </p:cNvPr>
          <p:cNvSpPr>
            <a:spLocks noGrp="1"/>
          </p:cNvSpPr>
          <p:nvPr>
            <p:ph type="body" sz="quarter" idx="14"/>
          </p:nvPr>
        </p:nvSpPr>
        <p:spPr>
          <a:xfrm>
            <a:off x="6713536" y="1782024"/>
            <a:ext cx="4251325" cy="4025051"/>
          </a:xfrm>
        </p:spPr>
        <p:txBody>
          <a:bodyPr anchor="ct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Tree>
    <p:extLst>
      <p:ext uri="{BB962C8B-B14F-4D97-AF65-F5344CB8AC3E}">
        <p14:creationId xmlns:p14="http://schemas.microsoft.com/office/powerpoint/2010/main" val="119860346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p:nvPr>
        </p:nvSpPr>
        <p:spPr>
          <a:xfrm>
            <a:off x="8444526" y="2163977"/>
            <a:ext cx="2840815" cy="3418675"/>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p:nvPr>
        </p:nvSpPr>
        <p:spPr>
          <a:xfrm>
            <a:off x="746125" y="2020888"/>
            <a:ext cx="6264275" cy="3562350"/>
          </a:xfrm>
        </p:spPr>
        <p:txBody>
          <a:bodyPr bIns="1260000" anchor="ctr"/>
          <a:lstStyle>
            <a:lvl1pPr algn="ctr">
              <a:defRPr sz="1800" b="1"/>
            </a:lvl1pPr>
          </a:lstStyle>
          <a:p>
            <a:endParaRPr lang="en-GB"/>
          </a:p>
        </p:txBody>
      </p:sp>
    </p:spTree>
    <p:extLst>
      <p:ext uri="{BB962C8B-B14F-4D97-AF65-F5344CB8AC3E}">
        <p14:creationId xmlns:p14="http://schemas.microsoft.com/office/powerpoint/2010/main" val="226176478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ext and graph">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p:nvPr>
        </p:nvSpPr>
        <p:spPr>
          <a:xfrm>
            <a:off x="8444526" y="2163977"/>
            <a:ext cx="2840815" cy="3418675"/>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p:nvPr>
        </p:nvSpPr>
        <p:spPr>
          <a:xfrm>
            <a:off x="746125" y="2020888"/>
            <a:ext cx="6264275" cy="3562350"/>
          </a:xfrm>
        </p:spPr>
        <p:txBody>
          <a:bodyPr bIns="1260000" anchor="ctr"/>
          <a:lstStyle>
            <a:lvl1pPr algn="ctr">
              <a:defRPr sz="1800" b="1"/>
            </a:lvl1pPr>
          </a:lstStyle>
          <a:p>
            <a:endParaRPr lang="en-GB"/>
          </a:p>
        </p:txBody>
      </p:sp>
    </p:spTree>
    <p:extLst>
      <p:ext uri="{BB962C8B-B14F-4D97-AF65-F5344CB8AC3E}">
        <p14:creationId xmlns:p14="http://schemas.microsoft.com/office/powerpoint/2010/main" val="330957932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text blocks">
    <p:spTree>
      <p:nvGrpSpPr>
        <p:cNvPr id="1" name=""/>
        <p:cNvGrpSpPr/>
        <p:nvPr/>
      </p:nvGrpSpPr>
      <p:grpSpPr>
        <a:xfrm>
          <a:off x="0" y="0"/>
          <a:ext cx="0" cy="0"/>
          <a:chOff x="0" y="0"/>
          <a:chExt cx="0" cy="0"/>
        </a:xfrm>
      </p:grpSpPr>
      <p:sp>
        <p:nvSpPr>
          <p:cNvPr id="13" name="Rectángulo 12">
            <a:extLst>
              <a:ext uri="{FF2B5EF4-FFF2-40B4-BE49-F238E27FC236}">
                <a16:creationId xmlns:a16="http://schemas.microsoft.com/office/drawing/2014/main" id="{4EC101F5-9D0B-4D29-8F7C-3C55FAB9A77F}"/>
              </a:ext>
            </a:extLst>
          </p:cNvPr>
          <p:cNvSpPr/>
          <p:nvPr userDrawn="1"/>
        </p:nvSpPr>
        <p:spPr>
          <a:xfrm>
            <a:off x="0" y="1542355"/>
            <a:ext cx="12192000" cy="1476908"/>
          </a:xfrm>
          <a:prstGeom prst="rect">
            <a:avLst/>
          </a:prstGeom>
          <a:solidFill>
            <a:srgbClr val="8C9EAB">
              <a:alpha val="15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16" name="Rectángulo redondeado 112">
            <a:extLst>
              <a:ext uri="{FF2B5EF4-FFF2-40B4-BE49-F238E27FC236}">
                <a16:creationId xmlns:a16="http://schemas.microsoft.com/office/drawing/2014/main" id="{2309FD08-C0E7-4117-A02B-BFC86E786E58}"/>
              </a:ext>
            </a:extLst>
          </p:cNvPr>
          <p:cNvSpPr/>
          <p:nvPr userDrawn="1"/>
        </p:nvSpPr>
        <p:spPr>
          <a:xfrm flipH="1">
            <a:off x="6096000" y="1348923"/>
            <a:ext cx="5580378" cy="1863773"/>
          </a:xfrm>
          <a:prstGeom prst="rect">
            <a:avLst/>
          </a:prstGeom>
          <a:solidFill>
            <a:srgbClr val="D3553F"/>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grpSp>
        <p:nvGrpSpPr>
          <p:cNvPr id="20" name="Grupo 19">
            <a:extLst>
              <a:ext uri="{FF2B5EF4-FFF2-40B4-BE49-F238E27FC236}">
                <a16:creationId xmlns:a16="http://schemas.microsoft.com/office/drawing/2014/main" id="{17DC9A3F-739E-4BB7-9BE4-8BC81A02F73C}"/>
              </a:ext>
            </a:extLst>
          </p:cNvPr>
          <p:cNvGrpSpPr/>
          <p:nvPr userDrawn="1"/>
        </p:nvGrpSpPr>
        <p:grpSpPr>
          <a:xfrm>
            <a:off x="5386437" y="1348923"/>
            <a:ext cx="1041631" cy="5388761"/>
            <a:chOff x="5385829" y="3721984"/>
            <a:chExt cx="1041631" cy="3046016"/>
          </a:xfrm>
        </p:grpSpPr>
        <p:sp>
          <p:nvSpPr>
            <p:cNvPr id="21" name="Rectángulo 20">
              <a:extLst>
                <a:ext uri="{FF2B5EF4-FFF2-40B4-BE49-F238E27FC236}">
                  <a16:creationId xmlns:a16="http://schemas.microsoft.com/office/drawing/2014/main" id="{81E9A4B6-B775-4B30-BE04-CA8ED3AE0B87}"/>
                </a:ext>
              </a:extLst>
            </p:cNvPr>
            <p:cNvSpPr/>
            <p:nvPr/>
          </p:nvSpPr>
          <p:spPr>
            <a:xfrm>
              <a:off x="5713633" y="3721984"/>
              <a:ext cx="713827" cy="3038759"/>
            </a:xfrm>
            <a:prstGeom prst="rect">
              <a:avLst/>
            </a:prstGeom>
            <a:solidFill>
              <a:schemeClr val="tx1">
                <a:alpha val="32000"/>
              </a:schemeClr>
            </a:solidFill>
            <a:ln w="9525">
              <a:noFill/>
            </a:ln>
            <a:effectLst>
              <a:softEdge rad="330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2" name="Rectángulo 21">
              <a:extLst>
                <a:ext uri="{FF2B5EF4-FFF2-40B4-BE49-F238E27FC236}">
                  <a16:creationId xmlns:a16="http://schemas.microsoft.com/office/drawing/2014/main" id="{F6A0B200-0CC5-4D2A-8AAA-CD30D0FE4F39}"/>
                </a:ext>
              </a:extLst>
            </p:cNvPr>
            <p:cNvSpPr/>
            <p:nvPr/>
          </p:nvSpPr>
          <p:spPr>
            <a:xfrm>
              <a:off x="5385829" y="3729242"/>
              <a:ext cx="713827" cy="303875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grpSp>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8" name="Rectángulo 17">
            <a:extLst>
              <a:ext uri="{FF2B5EF4-FFF2-40B4-BE49-F238E27FC236}">
                <a16:creationId xmlns:a16="http://schemas.microsoft.com/office/drawing/2014/main" id="{F989FA77-B19D-465F-9297-6B15B31BA453}"/>
              </a:ext>
            </a:extLst>
          </p:cNvPr>
          <p:cNvSpPr/>
          <p:nvPr userDrawn="1"/>
        </p:nvSpPr>
        <p:spPr>
          <a:xfrm>
            <a:off x="348307" y="1453437"/>
            <a:ext cx="11447016" cy="1863773"/>
          </a:xfrm>
          <a:prstGeom prst="rect">
            <a:avLst/>
          </a:prstGeom>
          <a:noFill/>
          <a:ln w="12700" cap="flat" cmpd="sng" algn="ctr">
            <a:gradFill>
              <a:gsLst>
                <a:gs pos="27000">
                  <a:srgbClr val="43ABB6"/>
                </a:gs>
                <a:gs pos="52000">
                  <a:srgbClr val="D3553F"/>
                </a:gs>
              </a:gsLst>
              <a:lin ang="0" scaled="0"/>
            </a:gra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24" name="Conector recto 23">
            <a:extLst>
              <a:ext uri="{FF2B5EF4-FFF2-40B4-BE49-F238E27FC236}">
                <a16:creationId xmlns:a16="http://schemas.microsoft.com/office/drawing/2014/main" id="{A749055D-D40F-4C57-95F4-8495AA571D9D}"/>
              </a:ext>
            </a:extLst>
          </p:cNvPr>
          <p:cNvCxnSpPr>
            <a:cxnSpLocks/>
          </p:cNvCxnSpPr>
          <p:nvPr userDrawn="1"/>
        </p:nvCxnSpPr>
        <p:spPr>
          <a:xfrm>
            <a:off x="852717" y="2859796"/>
            <a:ext cx="0" cy="883329"/>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D1DBE710-F316-4A46-A479-92F8C5EDBA6B}"/>
              </a:ext>
            </a:extLst>
          </p:cNvPr>
          <p:cNvCxnSpPr>
            <a:cxnSpLocks/>
          </p:cNvCxnSpPr>
          <p:nvPr userDrawn="1"/>
        </p:nvCxnSpPr>
        <p:spPr>
          <a:xfrm>
            <a:off x="6451060" y="2834396"/>
            <a:ext cx="0" cy="883329"/>
          </a:xfrm>
          <a:prstGeom prst="line">
            <a:avLst/>
          </a:prstGeom>
          <a:ln w="12700">
            <a:solidFill>
              <a:srgbClr val="D3553F"/>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25" name="Rectángulo 24">
            <a:extLst>
              <a:ext uri="{FF2B5EF4-FFF2-40B4-BE49-F238E27FC236}">
                <a16:creationId xmlns:a16="http://schemas.microsoft.com/office/drawing/2014/main" id="{577DE68B-C390-463D-9DC7-110E49B1EF8B}"/>
              </a:ext>
            </a:extLst>
          </p:cNvPr>
          <p:cNvSpPr/>
          <p:nvPr userDrawn="1"/>
        </p:nvSpPr>
        <p:spPr>
          <a:xfrm>
            <a:off x="467709" y="134892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6" name="Marcador de texto 5">
            <a:extLst>
              <a:ext uri="{FF2B5EF4-FFF2-40B4-BE49-F238E27FC236}">
                <a16:creationId xmlns:a16="http://schemas.microsoft.com/office/drawing/2014/main" id="{9A870F9B-D0DC-43A0-ABB3-AB968AB4D278}"/>
              </a:ext>
            </a:extLst>
          </p:cNvPr>
          <p:cNvSpPr>
            <a:spLocks noGrp="1"/>
          </p:cNvSpPr>
          <p:nvPr>
            <p:ph type="body" sz="quarter" idx="16"/>
          </p:nvPr>
        </p:nvSpPr>
        <p:spPr>
          <a:xfrm>
            <a:off x="1093346" y="3615536"/>
            <a:ext cx="4425133" cy="2484634"/>
          </a:xfrm>
        </p:spPr>
        <p:txBody>
          <a:bodyPr/>
          <a:lstStyle/>
          <a:p>
            <a:pPr lvl="0"/>
            <a:r>
              <a:rPr lang="en-US" noProof="0"/>
              <a:t>Haga clic para modificar los estilos de texto del patrón</a:t>
            </a:r>
          </a:p>
          <a:p>
            <a:pPr lvl="1"/>
            <a:r>
              <a:rPr lang="en-US" noProof="0"/>
              <a:t>Segundo nivel</a:t>
            </a:r>
          </a:p>
          <a:p>
            <a:pPr lvl="2"/>
            <a:r>
              <a:rPr lang="en-US" noProof="0"/>
              <a:t>Tercer nivel</a:t>
            </a:r>
          </a:p>
          <a:p>
            <a:pPr lvl="3"/>
            <a:r>
              <a:rPr lang="en-US" noProof="0"/>
              <a:t>Cuarto nivel</a:t>
            </a:r>
          </a:p>
          <a:p>
            <a:pPr lvl="4"/>
            <a:r>
              <a:rPr lang="en-US" noProof="0"/>
              <a:t>Quinto nivel</a:t>
            </a:r>
          </a:p>
        </p:txBody>
      </p:sp>
      <p:sp>
        <p:nvSpPr>
          <p:cNvPr id="9" name="Marcador de texto 8">
            <a:extLst>
              <a:ext uri="{FF2B5EF4-FFF2-40B4-BE49-F238E27FC236}">
                <a16:creationId xmlns:a16="http://schemas.microsoft.com/office/drawing/2014/main" id="{0D8EE4D9-40DB-41E3-9FE9-6FF0D78AF033}"/>
              </a:ext>
            </a:extLst>
          </p:cNvPr>
          <p:cNvSpPr>
            <a:spLocks noGrp="1"/>
          </p:cNvSpPr>
          <p:nvPr>
            <p:ph type="body" sz="quarter" idx="17"/>
          </p:nvPr>
        </p:nvSpPr>
        <p:spPr>
          <a:xfrm>
            <a:off x="6691689" y="3615536"/>
            <a:ext cx="4425133" cy="2484634"/>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882103" y="1614579"/>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882103" y="2032961"/>
            <a:ext cx="4644000" cy="986302"/>
          </a:xfrm>
        </p:spPr>
        <p:txBody>
          <a:bodyPr/>
          <a:lstStyle>
            <a:lvl1pPr>
              <a:defRPr sz="1400" baseline="0">
                <a:solidFill>
                  <a:schemeClr val="bg1">
                    <a:alpha val="75000"/>
                  </a:schemeClr>
                </a:solidFill>
              </a:defRPr>
            </a:lvl1pPr>
          </a:lstStyle>
          <a:p>
            <a:pPr lvl="0"/>
            <a:r>
              <a:rPr lang="en-US" noProof="0"/>
              <a:t>Lorem ipsum dolor sit amet</a:t>
            </a:r>
          </a:p>
        </p:txBody>
      </p:sp>
      <p:sp>
        <p:nvSpPr>
          <p:cNvPr id="37" name="Marcador de texto 31">
            <a:extLst>
              <a:ext uri="{FF2B5EF4-FFF2-40B4-BE49-F238E27FC236}">
                <a16:creationId xmlns:a16="http://schemas.microsoft.com/office/drawing/2014/main" id="{9551043E-38D0-497E-8ACD-F227943B8EDA}"/>
              </a:ext>
            </a:extLst>
          </p:cNvPr>
          <p:cNvSpPr>
            <a:spLocks noGrp="1"/>
          </p:cNvSpPr>
          <p:nvPr>
            <p:ph type="body" sz="quarter" idx="20" hasCustomPrompt="1"/>
          </p:nvPr>
        </p:nvSpPr>
        <p:spPr>
          <a:xfrm>
            <a:off x="6447963" y="1621924"/>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8" name="Marcador de texto 33">
            <a:extLst>
              <a:ext uri="{FF2B5EF4-FFF2-40B4-BE49-F238E27FC236}">
                <a16:creationId xmlns:a16="http://schemas.microsoft.com/office/drawing/2014/main" id="{DCC3E33E-CD51-4D68-AC6D-45EE4329382C}"/>
              </a:ext>
            </a:extLst>
          </p:cNvPr>
          <p:cNvSpPr>
            <a:spLocks noGrp="1"/>
          </p:cNvSpPr>
          <p:nvPr>
            <p:ph type="body" sz="quarter" idx="21" hasCustomPrompt="1"/>
          </p:nvPr>
        </p:nvSpPr>
        <p:spPr>
          <a:xfrm>
            <a:off x="6447963" y="2040306"/>
            <a:ext cx="4644000" cy="986302"/>
          </a:xfrm>
        </p:spPr>
        <p:txBody>
          <a:bodyPr/>
          <a:lstStyle>
            <a:lvl1pPr>
              <a:defRPr sz="1400" baseline="0">
                <a:solidFill>
                  <a:schemeClr val="bg1">
                    <a:alpha val="75000"/>
                  </a:schemeClr>
                </a:solidFill>
              </a:defRPr>
            </a:lvl1pPr>
          </a:lstStyle>
          <a:p>
            <a:pPr lvl="0"/>
            <a:r>
              <a:rPr lang="en-US" noProof="0"/>
              <a:t>Lorem ipsum dolor sit amet</a:t>
            </a:r>
          </a:p>
        </p:txBody>
      </p:sp>
    </p:spTree>
    <p:extLst>
      <p:ext uri="{BB962C8B-B14F-4D97-AF65-F5344CB8AC3E}">
        <p14:creationId xmlns:p14="http://schemas.microsoft.com/office/powerpoint/2010/main" val="127187239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Key information">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2257623"/>
            <a:ext cx="12192000" cy="3392740"/>
          </a:xfrm>
          <a:prstGeom prst="rect">
            <a:avLst/>
          </a:prstGeom>
          <a:solidFill>
            <a:srgbClr val="D3553F">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3" name="Rectángulo 22">
            <a:extLst>
              <a:ext uri="{FF2B5EF4-FFF2-40B4-BE49-F238E27FC236}">
                <a16:creationId xmlns:a16="http://schemas.microsoft.com/office/drawing/2014/main" id="{F03D36B0-D8D7-4719-A74B-706B315234CA}"/>
              </a:ext>
            </a:extLst>
          </p:cNvPr>
          <p:cNvSpPr/>
          <p:nvPr userDrawn="1"/>
        </p:nvSpPr>
        <p:spPr>
          <a:xfrm>
            <a:off x="2883635" y="1833800"/>
            <a:ext cx="6607561" cy="1702587"/>
          </a:xfrm>
          <a:prstGeom prst="rect">
            <a:avLst/>
          </a:prstGeom>
          <a:solidFill>
            <a:schemeClr val="tx1">
              <a:alpha val="31000"/>
            </a:schemeClr>
          </a:solidFill>
          <a:ln>
            <a:noFill/>
          </a:ln>
          <a:effectLst>
            <a:softEdge rad="2032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6" name="Rectángulo 25">
            <a:extLst>
              <a:ext uri="{FF2B5EF4-FFF2-40B4-BE49-F238E27FC236}">
                <a16:creationId xmlns:a16="http://schemas.microsoft.com/office/drawing/2014/main" id="{B613C63C-FDC8-46A5-9FB2-C9505D609D48}"/>
              </a:ext>
            </a:extLst>
          </p:cNvPr>
          <p:cNvSpPr/>
          <p:nvPr userDrawn="1"/>
        </p:nvSpPr>
        <p:spPr>
          <a:xfrm>
            <a:off x="2747610" y="1833799"/>
            <a:ext cx="6567115" cy="1702588"/>
          </a:xfrm>
          <a:prstGeom prst="rect">
            <a:avLst/>
          </a:prstGeom>
          <a:noFill/>
          <a:ln w="12700">
            <a:solidFill>
              <a:srgbClr val="43ABB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7" name="Rectángulo 26">
            <a:extLst>
              <a:ext uri="{FF2B5EF4-FFF2-40B4-BE49-F238E27FC236}">
                <a16:creationId xmlns:a16="http://schemas.microsoft.com/office/drawing/2014/main" id="{05BFB397-0A46-4C7C-A573-9FE7441CDA01}"/>
              </a:ext>
            </a:extLst>
          </p:cNvPr>
          <p:cNvSpPr/>
          <p:nvPr userDrawn="1"/>
        </p:nvSpPr>
        <p:spPr>
          <a:xfrm>
            <a:off x="2877267" y="1833798"/>
            <a:ext cx="6437465" cy="1702589"/>
          </a:xfrm>
          <a:prstGeom prst="rect">
            <a:avLst/>
          </a:prstGeom>
          <a:solidFill>
            <a:srgbClr val="43ABB6"/>
          </a:solidFill>
          <a:ln>
            <a:no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endParaRPr lang="en-GB" sz="1400" spc="100">
              <a:solidFill>
                <a:srgbClr val="FFFFFF">
                  <a:alpha val="75000"/>
                </a:srgbClr>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3031851" y="1956340"/>
            <a:ext cx="6128297" cy="720000"/>
          </a:xfrm>
        </p:spPr>
        <p:txBody>
          <a:bodyPr anchor="b"/>
          <a:lstStyle>
            <a:lvl1pPr algn="ctr">
              <a:defRPr sz="2800" b="1" cap="all" baseline="0">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3031851" y="2714279"/>
            <a:ext cx="6128297" cy="720000"/>
          </a:xfrm>
        </p:spPr>
        <p:txBody>
          <a:bodyPr/>
          <a:lstStyle>
            <a:lvl1pPr algn="ctr">
              <a:defRPr sz="1800" baseline="0">
                <a:solidFill>
                  <a:schemeClr val="bg1">
                    <a:alpha val="75000"/>
                  </a:schemeClr>
                </a:solidFill>
              </a:defRPr>
            </a:lvl1pPr>
          </a:lstStyle>
          <a:p>
            <a:pPr lvl="0"/>
            <a:r>
              <a:rPr lang="en-US" noProof="0"/>
              <a:t>Lorem ipsum dolor sit </a:t>
            </a:r>
            <a:r>
              <a:rPr lang="en-US" noProof="0" err="1"/>
              <a:t>amet</a:t>
            </a:r>
            <a:endParaRPr lang="en-US" noProof="0"/>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a:off x="3034126" y="3536387"/>
            <a:ext cx="0" cy="445894"/>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4" name="Marcador de texto 3">
            <a:extLst>
              <a:ext uri="{FF2B5EF4-FFF2-40B4-BE49-F238E27FC236}">
                <a16:creationId xmlns:a16="http://schemas.microsoft.com/office/drawing/2014/main" id="{0867734D-077E-4843-BFC9-1D1FFC025995}"/>
              </a:ext>
            </a:extLst>
          </p:cNvPr>
          <p:cNvSpPr>
            <a:spLocks noGrp="1"/>
          </p:cNvSpPr>
          <p:nvPr>
            <p:ph type="body" sz="quarter" idx="20"/>
          </p:nvPr>
        </p:nvSpPr>
        <p:spPr>
          <a:xfrm>
            <a:off x="3202440" y="3875487"/>
            <a:ext cx="5957706" cy="1600438"/>
          </a:xfrm>
        </p:spPr>
        <p:txBody>
          <a:bodyPr/>
          <a:lstStyle>
            <a:lvl1pPr>
              <a:defRPr sz="1400" b="1">
                <a:solidFill>
                  <a:srgbClr val="D3553F"/>
                </a:solidFill>
              </a:defRPr>
            </a:lvl1pPr>
          </a:lstStyle>
          <a:p>
            <a:pPr lvl="0"/>
            <a:r>
              <a:rPr lang="es-ES"/>
              <a:t>Haga clic para modificar los estilos de texto del patrón</a:t>
            </a:r>
          </a:p>
        </p:txBody>
      </p:sp>
    </p:spTree>
    <p:extLst>
      <p:ext uri="{BB962C8B-B14F-4D97-AF65-F5344CB8AC3E}">
        <p14:creationId xmlns:p14="http://schemas.microsoft.com/office/powerpoint/2010/main" val="237416132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5" name="Grafik 8"/>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20867" y="334434"/>
            <a:ext cx="1439334" cy="45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55" name="Rectangle 3"/>
          <p:cNvSpPr>
            <a:spLocks noGrp="1" noChangeArrowheads="1"/>
          </p:cNvSpPr>
          <p:nvPr>
            <p:ph type="ctrTitle" hasCustomPrompt="1"/>
          </p:nvPr>
        </p:nvSpPr>
        <p:spPr>
          <a:xfrm>
            <a:off x="1102784" y="4191001"/>
            <a:ext cx="10363200" cy="1470026"/>
          </a:xfrm>
        </p:spPr>
        <p:txBody>
          <a:bodyPr/>
          <a:lstStyle>
            <a:lvl1pPr algn="r">
              <a:defRPr sz="4534" b="1"/>
            </a:lvl1pPr>
          </a:lstStyle>
          <a:p>
            <a:pPr lvl="0"/>
            <a:r>
              <a:rPr lang="de-DE" noProof="0"/>
              <a:t>TITELMASTERFORMAT DURCH KLICKEN BEARBEITEN</a:t>
            </a:r>
          </a:p>
        </p:txBody>
      </p:sp>
      <p:sp>
        <p:nvSpPr>
          <p:cNvPr id="74756" name="Rectangle 4"/>
          <p:cNvSpPr>
            <a:spLocks noGrp="1" noChangeArrowheads="1"/>
          </p:cNvSpPr>
          <p:nvPr>
            <p:ph type="subTitle" idx="1"/>
          </p:nvPr>
        </p:nvSpPr>
        <p:spPr>
          <a:xfrm>
            <a:off x="3024718" y="5564188"/>
            <a:ext cx="8534400" cy="1752600"/>
          </a:xfrm>
        </p:spPr>
        <p:txBody>
          <a:bodyPr/>
          <a:lstStyle>
            <a:lvl1pPr marL="0" indent="0" algn="r">
              <a:defRPr/>
            </a:lvl1pPr>
          </a:lstStyle>
          <a:p>
            <a:pPr lvl="0"/>
            <a:r>
              <a:rPr lang="de-DE" noProof="0"/>
              <a:t>Formatvorlage des Untertitelmasters durch Klicken bearbeiten</a:t>
            </a:r>
          </a:p>
        </p:txBody>
      </p:sp>
      <p:pic>
        <p:nvPicPr>
          <p:cNvPr id="3" name="Grafik 2"/>
          <p:cNvPicPr>
            <a:picLocks noChangeAspect="1"/>
          </p:cNvPicPr>
          <p:nvPr userDrawn="1"/>
        </p:nvPicPr>
        <p:blipFill rotWithShape="1">
          <a:blip r:embed="rId3" cstate="print">
            <a:extLst>
              <a:ext uri="{28A0092B-C50C-407E-A947-70E740481C1C}">
                <a14:useLocalDpi xmlns:a14="http://schemas.microsoft.com/office/drawing/2010/main" val="0"/>
              </a:ext>
            </a:extLst>
          </a:blip>
          <a:srcRect t="2888"/>
          <a:stretch/>
        </p:blipFill>
        <p:spPr>
          <a:xfrm>
            <a:off x="623392" y="-27385"/>
            <a:ext cx="831416" cy="4819996"/>
          </a:xfrm>
          <a:prstGeom prst="rect">
            <a:avLst/>
          </a:prstGeom>
        </p:spPr>
      </p:pic>
      <p:pic>
        <p:nvPicPr>
          <p:cNvPr id="7" name="Grafik 6"/>
          <p:cNvPicPr>
            <a:picLocks noChangeAspect="1"/>
          </p:cNvPicPr>
          <p:nvPr userDrawn="1"/>
        </p:nvPicPr>
        <p:blipFill>
          <a:blip r:embed="rId4"/>
          <a:stretch>
            <a:fillRect/>
          </a:stretch>
        </p:blipFill>
        <p:spPr>
          <a:xfrm>
            <a:off x="8976321" y="334434"/>
            <a:ext cx="1071194" cy="438928"/>
          </a:xfrm>
          <a:prstGeom prst="rect">
            <a:avLst/>
          </a:prstGeom>
        </p:spPr>
      </p:pic>
    </p:spTree>
    <p:extLst>
      <p:ext uri="{BB962C8B-B14F-4D97-AF65-F5344CB8AC3E}">
        <p14:creationId xmlns:p14="http://schemas.microsoft.com/office/powerpoint/2010/main" val="1197897546"/>
      </p:ext>
    </p:extLst>
  </p:cSld>
  <p:clrMapOvr>
    <a:masterClrMapping/>
  </p:clrMapOvr>
  <p:extLst>
    <p:ext uri="{DCECCB84-F9BA-43D5-87BE-67443E8EF086}">
      <p15:sldGuideLst xmlns:p15="http://schemas.microsoft.com/office/powerpoint/2012/main">
        <p15:guide id="1" orient="horz" pos="2255">
          <p15:clr>
            <a:srgbClr val="FBAE40"/>
          </p15:clr>
        </p15:guide>
        <p15:guide id="2" pos="295">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487488" y="1272267"/>
            <a:ext cx="10972800" cy="1143000"/>
          </a:xfrm>
        </p:spPr>
        <p:txBody>
          <a:bodyPr/>
          <a:lstStyle/>
          <a:p>
            <a:r>
              <a:rPr lang="de-DE"/>
              <a:t>Titelmasterformat durch Klicken bearbeiten</a:t>
            </a:r>
            <a:endParaRPr lang="de-AT"/>
          </a:p>
        </p:txBody>
      </p:sp>
      <p:sp>
        <p:nvSpPr>
          <p:cNvPr id="3" name="Inhaltsplatzhalter 2"/>
          <p:cNvSpPr>
            <a:spLocks noGrp="1"/>
          </p:cNvSpPr>
          <p:nvPr>
            <p:ph idx="1"/>
          </p:nvPr>
        </p:nvSpPr>
        <p:spPr>
          <a:xfrm>
            <a:off x="1487488" y="2873612"/>
            <a:ext cx="10972800" cy="647700"/>
          </a:xfrm>
        </p:spPr>
        <p:txBody>
          <a:bodyPr/>
          <a:lstStyle>
            <a:lvl2pPr marL="1066814" indent="-457206">
              <a:buClr>
                <a:srgbClr val="C00000"/>
              </a:buClr>
              <a:buFont typeface="Wingdings" panose="05000000000000000000" pitchFamily="2" charset="2"/>
              <a:buChar char="§"/>
              <a:defRPr/>
            </a:lvl2pPr>
            <a:lvl3pPr marL="1676421" indent="-457206">
              <a:buClr>
                <a:srgbClr val="C00000"/>
              </a:buClr>
              <a:buFont typeface="Wingdings" panose="05000000000000000000" pitchFamily="2" charset="2"/>
              <a:buChar char="§"/>
              <a:defRPr/>
            </a:lvl3pPr>
            <a:lvl4pPr marL="2286029" indent="-457206">
              <a:buClr>
                <a:srgbClr val="C00000"/>
              </a:buClr>
              <a:buFont typeface="Wingdings" panose="05000000000000000000" pitchFamily="2" charset="2"/>
              <a:buChar char="§"/>
              <a:defRPr/>
            </a:lvl4pPr>
            <a:lvl5pPr marL="2895636" indent="-457206">
              <a:buClr>
                <a:srgbClr val="C00000"/>
              </a:buClr>
              <a:buFont typeface="Wingdings" panose="05000000000000000000" pitchFamily="2"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34469009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2"/>
            <a:ext cx="10363200" cy="1362075"/>
          </a:xfrm>
        </p:spPr>
        <p:txBody>
          <a:bodyPr anchor="t"/>
          <a:lstStyle>
            <a:lvl1pPr algn="l">
              <a:defRPr sz="5334" b="1" cap="all"/>
            </a:lvl1pPr>
          </a:lstStyle>
          <a:p>
            <a:r>
              <a:rPr lang="de-DE"/>
              <a:t>Titelmasterformat durch Klicken bearbeiten</a:t>
            </a:r>
            <a:endParaRPr lang="de-AT"/>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667"/>
            </a:lvl1pPr>
            <a:lvl2pPr marL="609608" indent="0">
              <a:buNone/>
              <a:defRPr sz="2400"/>
            </a:lvl2pPr>
            <a:lvl3pPr marL="1219215" indent="0">
              <a:buNone/>
              <a:defRPr sz="2134"/>
            </a:lvl3pPr>
            <a:lvl4pPr marL="1828823" indent="0">
              <a:buNone/>
              <a:defRPr sz="1867"/>
            </a:lvl4pPr>
            <a:lvl5pPr marL="2438431" indent="0">
              <a:buNone/>
              <a:defRPr sz="1867"/>
            </a:lvl5pPr>
            <a:lvl6pPr marL="3048038" indent="0">
              <a:buNone/>
              <a:defRPr sz="1867"/>
            </a:lvl6pPr>
            <a:lvl7pPr marL="3657646" indent="0">
              <a:buNone/>
              <a:defRPr sz="1867"/>
            </a:lvl7pPr>
            <a:lvl8pPr marL="4267254" indent="0">
              <a:buNone/>
              <a:defRPr sz="1867"/>
            </a:lvl8pPr>
            <a:lvl9pPr marL="4876861" indent="0">
              <a:buNone/>
              <a:defRPr sz="1867"/>
            </a:lvl9pPr>
          </a:lstStyle>
          <a:p>
            <a:pPr lvl="0"/>
            <a:r>
              <a:rPr lang="de-DE"/>
              <a:t>Textmasterformat bearbeiten</a:t>
            </a:r>
          </a:p>
        </p:txBody>
      </p:sp>
      <p:sp>
        <p:nvSpPr>
          <p:cNvPr id="4"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162725207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sz="half" idx="1"/>
          </p:nvPr>
        </p:nvSpPr>
        <p:spPr>
          <a:xfrm>
            <a:off x="594784" y="2205040"/>
            <a:ext cx="5384800" cy="647700"/>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82784" y="2205040"/>
            <a:ext cx="5384800" cy="647700"/>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35654331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Picture Placeholder 18">
            <a:extLst>
              <a:ext uri="{FF2B5EF4-FFF2-40B4-BE49-F238E27FC236}">
                <a16:creationId xmlns:a16="http://schemas.microsoft.com/office/drawing/2014/main" id="{7F376F53-6679-3E49-90B8-5BCC92BD6357}"/>
              </a:ext>
            </a:extLst>
          </p:cNvPr>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2812773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9"/>
            <a:ext cx="10972800" cy="1143000"/>
          </a:xfrm>
        </p:spPr>
        <p:txBody>
          <a:bodyPr/>
          <a:lstStyle>
            <a:lvl1pPr>
              <a:defRPr/>
            </a:lvl1pPr>
          </a:lstStyle>
          <a:p>
            <a:r>
              <a:rPr lang="de-DE"/>
              <a:t>Titelmasterformat durch Klicken bearbeiten</a:t>
            </a:r>
            <a:endParaRPr lang="de-AT"/>
          </a:p>
        </p:txBody>
      </p:sp>
      <p:sp>
        <p:nvSpPr>
          <p:cNvPr id="3" name="Textplatzhalter 2"/>
          <p:cNvSpPr>
            <a:spLocks noGrp="1"/>
          </p:cNvSpPr>
          <p:nvPr>
            <p:ph type="body" idx="1"/>
          </p:nvPr>
        </p:nvSpPr>
        <p:spPr>
          <a:xfrm>
            <a:off x="609600" y="1535114"/>
            <a:ext cx="5386918" cy="639763"/>
          </a:xfrm>
        </p:spPr>
        <p:txBody>
          <a:bodyPr anchor="b"/>
          <a:lstStyle>
            <a:lvl1pPr marL="0" indent="0">
              <a:buNone/>
              <a:defRPr sz="3200" b="1"/>
            </a:lvl1pPr>
            <a:lvl2pPr marL="609608" indent="0">
              <a:buNone/>
              <a:defRPr sz="2667" b="1"/>
            </a:lvl2pPr>
            <a:lvl3pPr marL="1219215" indent="0">
              <a:buNone/>
              <a:defRPr sz="2400" b="1"/>
            </a:lvl3pPr>
            <a:lvl4pPr marL="1828823" indent="0">
              <a:buNone/>
              <a:defRPr sz="2134" b="1"/>
            </a:lvl4pPr>
            <a:lvl5pPr marL="2438431" indent="0">
              <a:buNone/>
              <a:defRPr sz="2134" b="1"/>
            </a:lvl5pPr>
            <a:lvl6pPr marL="3048038" indent="0">
              <a:buNone/>
              <a:defRPr sz="2134" b="1"/>
            </a:lvl6pPr>
            <a:lvl7pPr marL="3657646" indent="0">
              <a:buNone/>
              <a:defRPr sz="2134" b="1"/>
            </a:lvl7pPr>
            <a:lvl8pPr marL="4267254" indent="0">
              <a:buNone/>
              <a:defRPr sz="2134" b="1"/>
            </a:lvl8pPr>
            <a:lvl9pPr marL="4876861" indent="0">
              <a:buNone/>
              <a:defRPr sz="2134" b="1"/>
            </a:lvl9pPr>
          </a:lstStyle>
          <a:p>
            <a:pPr lvl="0"/>
            <a:r>
              <a:rPr lang="de-DE"/>
              <a:t>Textmasterformat bearbeiten</a:t>
            </a:r>
          </a:p>
        </p:txBody>
      </p:sp>
      <p:sp>
        <p:nvSpPr>
          <p:cNvPr id="4" name="Inhaltsplatzhalter 3"/>
          <p:cNvSpPr>
            <a:spLocks noGrp="1"/>
          </p:cNvSpPr>
          <p:nvPr>
            <p:ph sz="half" idx="2"/>
          </p:nvPr>
        </p:nvSpPr>
        <p:spPr>
          <a:xfrm>
            <a:off x="609600" y="2174874"/>
            <a:ext cx="5386918"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6193369" y="1535114"/>
            <a:ext cx="5389034" cy="639763"/>
          </a:xfrm>
        </p:spPr>
        <p:txBody>
          <a:bodyPr anchor="b"/>
          <a:lstStyle>
            <a:lvl1pPr marL="0" indent="0">
              <a:buNone/>
              <a:defRPr sz="3200" b="1"/>
            </a:lvl1pPr>
            <a:lvl2pPr marL="609608" indent="0">
              <a:buNone/>
              <a:defRPr sz="2667" b="1"/>
            </a:lvl2pPr>
            <a:lvl3pPr marL="1219215" indent="0">
              <a:buNone/>
              <a:defRPr sz="2400" b="1"/>
            </a:lvl3pPr>
            <a:lvl4pPr marL="1828823" indent="0">
              <a:buNone/>
              <a:defRPr sz="2134" b="1"/>
            </a:lvl4pPr>
            <a:lvl5pPr marL="2438431" indent="0">
              <a:buNone/>
              <a:defRPr sz="2134" b="1"/>
            </a:lvl5pPr>
            <a:lvl6pPr marL="3048038" indent="0">
              <a:buNone/>
              <a:defRPr sz="2134" b="1"/>
            </a:lvl6pPr>
            <a:lvl7pPr marL="3657646" indent="0">
              <a:buNone/>
              <a:defRPr sz="2134" b="1"/>
            </a:lvl7pPr>
            <a:lvl8pPr marL="4267254" indent="0">
              <a:buNone/>
              <a:defRPr sz="2134" b="1"/>
            </a:lvl8pPr>
            <a:lvl9pPr marL="4876861" indent="0">
              <a:buNone/>
              <a:defRPr sz="2134" b="1"/>
            </a:lvl9pPr>
          </a:lstStyle>
          <a:p>
            <a:pPr lvl="0"/>
            <a:r>
              <a:rPr lang="de-DE"/>
              <a:t>Textmasterformat bearbeiten</a:t>
            </a:r>
          </a:p>
        </p:txBody>
      </p:sp>
      <p:sp>
        <p:nvSpPr>
          <p:cNvPr id="6" name="Inhaltsplatzhalter 5"/>
          <p:cNvSpPr>
            <a:spLocks noGrp="1"/>
          </p:cNvSpPr>
          <p:nvPr>
            <p:ph sz="quarter" idx="4"/>
          </p:nvPr>
        </p:nvSpPr>
        <p:spPr>
          <a:xfrm>
            <a:off x="6193369" y="2174874"/>
            <a:ext cx="5389034" cy="3951288"/>
          </a:xfrm>
        </p:spPr>
        <p:txBody>
          <a:bodyPr/>
          <a:lstStyle>
            <a:lvl1pPr>
              <a:defRPr sz="3200"/>
            </a:lvl1pPr>
            <a:lvl2pPr>
              <a:defRPr sz="2667"/>
            </a:lvl2pPr>
            <a:lvl3pPr>
              <a:defRPr sz="2400"/>
            </a:lvl3pPr>
            <a:lvl4pPr>
              <a:defRPr sz="2134"/>
            </a:lvl4pPr>
            <a:lvl5pPr>
              <a:defRPr sz="2134"/>
            </a:lvl5pPr>
            <a:lvl6pPr>
              <a:defRPr sz="2134"/>
            </a:lvl6pPr>
            <a:lvl7pPr>
              <a:defRPr sz="2134"/>
            </a:lvl7pPr>
            <a:lvl8pPr>
              <a:defRPr sz="2134"/>
            </a:lvl8pPr>
            <a:lvl9pPr>
              <a:defRPr sz="2134"/>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Slide Number Placeholder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30998274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408185120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405868547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1"/>
          </a:xfrm>
        </p:spPr>
        <p:txBody>
          <a:bodyPr anchor="b"/>
          <a:lstStyle>
            <a:lvl1pPr algn="l">
              <a:defRPr sz="2667" b="1"/>
            </a:lvl1pPr>
          </a:lstStyle>
          <a:p>
            <a:r>
              <a:rPr lang="de-DE"/>
              <a:t>Titelmasterformat durch Klicken bearbeiten</a:t>
            </a:r>
            <a:endParaRPr lang="de-AT"/>
          </a:p>
        </p:txBody>
      </p:sp>
      <p:sp>
        <p:nvSpPr>
          <p:cNvPr id="3" name="Inhaltsplatzhalter 2"/>
          <p:cNvSpPr>
            <a:spLocks noGrp="1"/>
          </p:cNvSpPr>
          <p:nvPr>
            <p:ph idx="1"/>
          </p:nvPr>
        </p:nvSpPr>
        <p:spPr>
          <a:xfrm>
            <a:off x="4766734" y="273052"/>
            <a:ext cx="6815667" cy="5853114"/>
          </a:xfrm>
        </p:spPr>
        <p:txBody>
          <a:bodyPr/>
          <a:lstStyle>
            <a:lvl1pPr>
              <a:defRPr sz="4267"/>
            </a:lvl1pPr>
            <a:lvl2pPr>
              <a:defRPr sz="3734"/>
            </a:lvl2pPr>
            <a:lvl3pPr>
              <a:defRPr sz="3200"/>
            </a:lvl3pPr>
            <a:lvl4pPr>
              <a:defRPr sz="2667"/>
            </a:lvl4pPr>
            <a:lvl5pPr>
              <a:defRPr sz="2667"/>
            </a:lvl5pPr>
            <a:lvl6pPr>
              <a:defRPr sz="2667"/>
            </a:lvl6pPr>
            <a:lvl7pPr>
              <a:defRPr sz="2667"/>
            </a:lvl7pPr>
            <a:lvl8pPr>
              <a:defRPr sz="2667"/>
            </a:lvl8pPr>
            <a:lvl9pPr>
              <a:defRPr sz="2667"/>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609602" y="1435102"/>
            <a:ext cx="4011084" cy="4691063"/>
          </a:xfrm>
        </p:spPr>
        <p:txBody>
          <a:bodyPr/>
          <a:lstStyle>
            <a:lvl1pPr marL="0" indent="0">
              <a:buNone/>
              <a:defRPr sz="1867"/>
            </a:lvl1pPr>
            <a:lvl2pPr marL="609608" indent="0">
              <a:buNone/>
              <a:defRPr sz="1600"/>
            </a:lvl2pPr>
            <a:lvl3pPr marL="1219215" indent="0">
              <a:buNone/>
              <a:defRPr sz="1334"/>
            </a:lvl3pPr>
            <a:lvl4pPr marL="1828823" indent="0">
              <a:buNone/>
              <a:defRPr sz="1200"/>
            </a:lvl4pPr>
            <a:lvl5pPr marL="2438431" indent="0">
              <a:buNone/>
              <a:defRPr sz="1200"/>
            </a:lvl5pPr>
            <a:lvl6pPr marL="3048038" indent="0">
              <a:buNone/>
              <a:defRPr sz="1200"/>
            </a:lvl6pPr>
            <a:lvl7pPr marL="3657646" indent="0">
              <a:buNone/>
              <a:defRPr sz="1200"/>
            </a:lvl7pPr>
            <a:lvl8pPr marL="4267254" indent="0">
              <a:buNone/>
              <a:defRPr sz="1200"/>
            </a:lvl8pPr>
            <a:lvl9pPr marL="4876861" indent="0">
              <a:buNone/>
              <a:defRPr sz="1200"/>
            </a:lvl9pPr>
          </a:lstStyle>
          <a:p>
            <a:pPr lvl="0"/>
            <a:r>
              <a:rPr lang="de-DE"/>
              <a:t>Textmasterformat bearbeiten</a:t>
            </a:r>
          </a:p>
        </p:txBody>
      </p:sp>
      <p:sp>
        <p:nvSpPr>
          <p:cNvPr id="5"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180635105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8" y="4800600"/>
            <a:ext cx="7315200" cy="566739"/>
          </a:xfrm>
        </p:spPr>
        <p:txBody>
          <a:bodyPr anchor="b"/>
          <a:lstStyle>
            <a:lvl1pPr algn="l">
              <a:defRPr sz="2667" b="1"/>
            </a:lvl1pPr>
          </a:lstStyle>
          <a:p>
            <a:r>
              <a:rPr lang="de-DE"/>
              <a:t>Titelmasterformat durch Klicken bearbeiten</a:t>
            </a:r>
            <a:endParaRPr lang="de-AT"/>
          </a:p>
        </p:txBody>
      </p:sp>
      <p:sp>
        <p:nvSpPr>
          <p:cNvPr id="3" name="Bildplatzhalter 2"/>
          <p:cNvSpPr>
            <a:spLocks noGrp="1"/>
          </p:cNvSpPr>
          <p:nvPr>
            <p:ph type="pic" idx="1"/>
          </p:nvPr>
        </p:nvSpPr>
        <p:spPr>
          <a:xfrm>
            <a:off x="2389718" y="612775"/>
            <a:ext cx="7315200" cy="4114800"/>
          </a:xfrm>
        </p:spPr>
        <p:txBody>
          <a:bodyPr/>
          <a:lstStyle>
            <a:lvl1pPr marL="0" indent="0">
              <a:buNone/>
              <a:defRPr sz="4267"/>
            </a:lvl1pPr>
            <a:lvl2pPr marL="609608" indent="0">
              <a:buNone/>
              <a:defRPr sz="3734"/>
            </a:lvl2pPr>
            <a:lvl3pPr marL="1219215" indent="0">
              <a:buNone/>
              <a:defRPr sz="3200"/>
            </a:lvl3pPr>
            <a:lvl4pPr marL="1828823" indent="0">
              <a:buNone/>
              <a:defRPr sz="2667"/>
            </a:lvl4pPr>
            <a:lvl5pPr marL="2438431" indent="0">
              <a:buNone/>
              <a:defRPr sz="2667"/>
            </a:lvl5pPr>
            <a:lvl6pPr marL="3048038" indent="0">
              <a:buNone/>
              <a:defRPr sz="2667"/>
            </a:lvl6pPr>
            <a:lvl7pPr marL="3657646" indent="0">
              <a:buNone/>
              <a:defRPr sz="2667"/>
            </a:lvl7pPr>
            <a:lvl8pPr marL="4267254" indent="0">
              <a:buNone/>
              <a:defRPr sz="2667"/>
            </a:lvl8pPr>
            <a:lvl9pPr marL="4876861" indent="0">
              <a:buNone/>
              <a:defRPr sz="2667"/>
            </a:lvl9pPr>
          </a:lstStyle>
          <a:p>
            <a:pPr lvl="0"/>
            <a:endParaRPr lang="de-AT" noProof="0"/>
          </a:p>
        </p:txBody>
      </p:sp>
      <p:sp>
        <p:nvSpPr>
          <p:cNvPr id="4" name="Textplatzhalter 3"/>
          <p:cNvSpPr>
            <a:spLocks noGrp="1"/>
          </p:cNvSpPr>
          <p:nvPr>
            <p:ph type="body" sz="half" idx="2"/>
          </p:nvPr>
        </p:nvSpPr>
        <p:spPr>
          <a:xfrm>
            <a:off x="2389718" y="5367338"/>
            <a:ext cx="7315200" cy="804863"/>
          </a:xfrm>
        </p:spPr>
        <p:txBody>
          <a:bodyPr/>
          <a:lstStyle>
            <a:lvl1pPr marL="0" indent="0">
              <a:buNone/>
              <a:defRPr sz="1867"/>
            </a:lvl1pPr>
            <a:lvl2pPr marL="609608" indent="0">
              <a:buNone/>
              <a:defRPr sz="1600"/>
            </a:lvl2pPr>
            <a:lvl3pPr marL="1219215" indent="0">
              <a:buNone/>
              <a:defRPr sz="1334"/>
            </a:lvl3pPr>
            <a:lvl4pPr marL="1828823" indent="0">
              <a:buNone/>
              <a:defRPr sz="1200"/>
            </a:lvl4pPr>
            <a:lvl5pPr marL="2438431" indent="0">
              <a:buNone/>
              <a:defRPr sz="1200"/>
            </a:lvl5pPr>
            <a:lvl6pPr marL="3048038" indent="0">
              <a:buNone/>
              <a:defRPr sz="1200"/>
            </a:lvl6pPr>
            <a:lvl7pPr marL="3657646" indent="0">
              <a:buNone/>
              <a:defRPr sz="1200"/>
            </a:lvl7pPr>
            <a:lvl8pPr marL="4267254" indent="0">
              <a:buNone/>
              <a:defRPr sz="1200"/>
            </a:lvl8pPr>
            <a:lvl9pPr marL="4876861" indent="0">
              <a:buNone/>
              <a:defRPr sz="1200"/>
            </a:lvl9pPr>
          </a:lstStyle>
          <a:p>
            <a:pPr lvl="0"/>
            <a:r>
              <a:rPr lang="de-DE"/>
              <a:t>Textmasterformat bearbeiten</a:t>
            </a:r>
          </a:p>
        </p:txBody>
      </p:sp>
      <p:sp>
        <p:nvSpPr>
          <p:cNvPr id="5"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148685411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221237622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7086" y="1125539"/>
            <a:ext cx="2745316" cy="1727200"/>
          </a:xfrm>
        </p:spPr>
        <p:txBody>
          <a:bodyPr vert="eaVert"/>
          <a:lstStyle/>
          <a:p>
            <a:r>
              <a:rPr lang="de-DE"/>
              <a:t>Titelmasterformat durch Klicken bearbeiten</a:t>
            </a:r>
            <a:endParaRPr lang="de-AT"/>
          </a:p>
        </p:txBody>
      </p:sp>
      <p:sp>
        <p:nvSpPr>
          <p:cNvPr id="3" name="Vertikaler Textplatzhalter 2"/>
          <p:cNvSpPr>
            <a:spLocks noGrp="1"/>
          </p:cNvSpPr>
          <p:nvPr>
            <p:ph type="body" orient="vert" idx="1"/>
          </p:nvPr>
        </p:nvSpPr>
        <p:spPr>
          <a:xfrm>
            <a:off x="594786" y="1125539"/>
            <a:ext cx="8039100" cy="1727200"/>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Rectangle 6"/>
          <p:cNvSpPr>
            <a:spLocks noGrp="1" noChangeArrowheads="1"/>
          </p:cNvSpPr>
          <p:nvPr>
            <p:ph type="sldNum" sz="quarter" idx="10"/>
          </p:nvPr>
        </p:nvSpPr>
        <p:spPr>
          <a:xfrm>
            <a:off x="8820151" y="6237818"/>
            <a:ext cx="2844800" cy="476250"/>
          </a:xfrm>
          <a:prstGeom prst="rect">
            <a:avLst/>
          </a:prstGeom>
        </p:spPr>
        <p:txBody>
          <a:bodyPr/>
          <a:lstStyle>
            <a:lvl1pPr eaLnBrk="1" hangingPunct="1">
              <a:defRPr>
                <a:latin typeface="Arial" charset="0"/>
              </a:defRPr>
            </a:lvl1pPr>
          </a:lstStyle>
          <a:p>
            <a:pPr>
              <a:defRPr/>
            </a:pPr>
            <a:endParaRPr lang="de-AT"/>
          </a:p>
        </p:txBody>
      </p:sp>
    </p:spTree>
    <p:extLst>
      <p:ext uri="{BB962C8B-B14F-4D97-AF65-F5344CB8AC3E}">
        <p14:creationId xmlns:p14="http://schemas.microsoft.com/office/powerpoint/2010/main" val="397312106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Rubrik/innehåll">
    <p:spTree>
      <p:nvGrpSpPr>
        <p:cNvPr id="1" name=""/>
        <p:cNvGrpSpPr/>
        <p:nvPr/>
      </p:nvGrpSpPr>
      <p:grpSpPr>
        <a:xfrm>
          <a:off x="0" y="0"/>
          <a:ext cx="0" cy="0"/>
          <a:chOff x="0" y="0"/>
          <a:chExt cx="0" cy="0"/>
        </a:xfrm>
      </p:grpSpPr>
      <p:sp>
        <p:nvSpPr>
          <p:cNvPr id="3" name="Platshållare för innehåll 2"/>
          <p:cNvSpPr>
            <a:spLocks noGrp="1"/>
          </p:cNvSpPr>
          <p:nvPr>
            <p:ph idx="1" hasCustomPrompt="1"/>
          </p:nvPr>
        </p:nvSpPr>
        <p:spPr>
          <a:xfrm>
            <a:off x="911424" y="1844675"/>
            <a:ext cx="6553001" cy="3661600"/>
          </a:xfrm>
        </p:spPr>
        <p:txBody>
          <a:bodyPr/>
          <a:lstStyle>
            <a:lvl1pPr>
              <a:spcBef>
                <a:spcPts val="1200"/>
              </a:spcBef>
              <a:defRPr/>
            </a:lvl1pPr>
            <a:lvl4pPr>
              <a:defRPr sz="1300"/>
            </a:lvl4pPr>
          </a:lstStyle>
          <a:p>
            <a:pPr lvl="0"/>
            <a:r>
              <a:rPr lang="sv-SE"/>
              <a:t>Punktlista</a:t>
            </a:r>
          </a:p>
          <a:p>
            <a:pPr lvl="1"/>
            <a:r>
              <a:rPr lang="sv-SE"/>
              <a:t>Nivå två</a:t>
            </a:r>
          </a:p>
          <a:p>
            <a:pPr lvl="2"/>
            <a:r>
              <a:rPr lang="sv-SE"/>
              <a:t>Nivå tre</a:t>
            </a:r>
          </a:p>
        </p:txBody>
      </p:sp>
      <p:sp>
        <p:nvSpPr>
          <p:cNvPr id="4" name="Rubrik 3"/>
          <p:cNvSpPr>
            <a:spLocks noGrp="1"/>
          </p:cNvSpPr>
          <p:nvPr>
            <p:ph type="title" hasCustomPrompt="1"/>
          </p:nvPr>
        </p:nvSpPr>
        <p:spPr>
          <a:xfrm>
            <a:off x="911424" y="572794"/>
            <a:ext cx="9145015" cy="911990"/>
          </a:xfrm>
        </p:spPr>
        <p:txBody>
          <a:bodyPr/>
          <a:lstStyle>
            <a:lvl1pPr>
              <a:defRPr/>
            </a:lvl1pPr>
          </a:lstStyle>
          <a:p>
            <a:r>
              <a:rPr lang="sv-SE"/>
              <a:t>Rubrik</a:t>
            </a:r>
          </a:p>
        </p:txBody>
      </p:sp>
      <p:pic>
        <p:nvPicPr>
          <p:cNvPr id="6" name="Bildobjekt 5" descr="The logotype of The Public Health Agency of Sweden "/>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39600" y="5950800"/>
            <a:ext cx="1964444" cy="644400"/>
          </a:xfrm>
          <a:prstGeom prst="rect">
            <a:avLst/>
          </a:prstGeom>
        </p:spPr>
      </p:pic>
    </p:spTree>
    <p:extLst>
      <p:ext uri="{BB962C8B-B14F-4D97-AF65-F5344CB8AC3E}">
        <p14:creationId xmlns:p14="http://schemas.microsoft.com/office/powerpoint/2010/main" val="219429357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Endast logotyp">
    <p:spTree>
      <p:nvGrpSpPr>
        <p:cNvPr id="1" name=""/>
        <p:cNvGrpSpPr/>
        <p:nvPr/>
      </p:nvGrpSpPr>
      <p:grpSpPr>
        <a:xfrm>
          <a:off x="0" y="0"/>
          <a:ext cx="0" cy="0"/>
          <a:chOff x="0" y="0"/>
          <a:chExt cx="0" cy="0"/>
        </a:xfrm>
      </p:grpSpPr>
      <p:pic>
        <p:nvPicPr>
          <p:cNvPr id="3" name="Bildobjekt 2" descr="The logotype of The Public Health Agency of Sweden "/>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0570" y="5949793"/>
            <a:ext cx="1916070" cy="643238"/>
          </a:xfrm>
          <a:prstGeom prst="rect">
            <a:avLst/>
          </a:prstGeom>
        </p:spPr>
      </p:pic>
    </p:spTree>
    <p:extLst>
      <p:ext uri="{BB962C8B-B14F-4D97-AF65-F5344CB8AC3E}">
        <p14:creationId xmlns:p14="http://schemas.microsoft.com/office/powerpoint/2010/main" val="302564939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Startsi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1424" y="1922880"/>
            <a:ext cx="8534400" cy="1470025"/>
          </a:xfrm>
        </p:spPr>
        <p:txBody>
          <a:bodyPr anchor="b"/>
          <a:lstStyle>
            <a:lvl1pPr>
              <a:lnSpc>
                <a:spcPts val="4400"/>
              </a:lnSpc>
              <a:spcBef>
                <a:spcPts val="300"/>
              </a:spcBef>
              <a:spcAft>
                <a:spcPts val="600"/>
              </a:spcAft>
              <a:defRPr sz="3800" baseline="0">
                <a:solidFill>
                  <a:schemeClr val="tx1"/>
                </a:solidFill>
              </a:defRPr>
            </a:lvl1pPr>
          </a:lstStyle>
          <a:p>
            <a:r>
              <a:rPr lang="sv-SE"/>
              <a:t>Presentationens titel</a:t>
            </a:r>
          </a:p>
        </p:txBody>
      </p:sp>
      <p:sp>
        <p:nvSpPr>
          <p:cNvPr id="3" name="Underrubrik 2"/>
          <p:cNvSpPr>
            <a:spLocks noGrp="1"/>
          </p:cNvSpPr>
          <p:nvPr>
            <p:ph type="subTitle" idx="1" hasCustomPrompt="1"/>
          </p:nvPr>
        </p:nvSpPr>
        <p:spPr>
          <a:xfrm>
            <a:off x="911424" y="3526160"/>
            <a:ext cx="8534400" cy="838944"/>
          </a:xfrm>
        </p:spPr>
        <p:txBody>
          <a:bodyPr/>
          <a:lstStyle>
            <a:lvl1pPr marL="0" indent="0" algn="l">
              <a:lnSpc>
                <a:spcPts val="3200"/>
              </a:lnSpc>
              <a:spcBef>
                <a:spcPts val="600"/>
              </a:spcBef>
              <a:spcAft>
                <a:spcPts val="300"/>
              </a:spcAft>
              <a:buNone/>
              <a:defRPr sz="2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Presentatör, datum osv.</a:t>
            </a:r>
          </a:p>
        </p:txBody>
      </p:sp>
      <p:pic>
        <p:nvPicPr>
          <p:cNvPr id="6" name="Bildobjekt 5" descr="The logotype of The Public Health Agency of Sweden "/>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2800" y="460800"/>
            <a:ext cx="2798509" cy="918000"/>
          </a:xfrm>
          <a:prstGeom prst="rect">
            <a:avLst/>
          </a:prstGeom>
        </p:spPr>
      </p:pic>
    </p:spTree>
    <p:extLst>
      <p:ext uri="{BB962C8B-B14F-4D97-AF65-F5344CB8AC3E}">
        <p14:creationId xmlns:p14="http://schemas.microsoft.com/office/powerpoint/2010/main" val="14960417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5" name="Текст 34"/>
          <p:cNvSpPr>
            <a:spLocks noGrp="1"/>
          </p:cNvSpPr>
          <p:nvPr>
            <p:ph type="body" sz="quarter" idx="11" hasCustomPrompt="1"/>
          </p:nvPr>
        </p:nvSpPr>
        <p:spPr>
          <a:xfrm>
            <a:off x="693749" y="4544203"/>
            <a:ext cx="7314870" cy="311150"/>
          </a:xfrm>
          <a:prstGeom prst="rect">
            <a:avLst/>
          </a:prstGeom>
        </p:spPr>
        <p:txBody>
          <a:bodyPr/>
          <a:lstStyle>
            <a:lvl1pPr marL="0" indent="0" algn="l">
              <a:spcBef>
                <a:spcPts val="600"/>
              </a:spcBef>
              <a:buNone/>
              <a:defRPr sz="1400" baseline="0"/>
            </a:lvl1pPr>
          </a:lstStyle>
          <a:p>
            <a:pPr algn="l">
              <a:spcBef>
                <a:spcPts val="600"/>
              </a:spcBef>
            </a:pPr>
            <a:r>
              <a:rPr lang="uk-UA" sz="1400" kern="1200">
                <a:solidFill>
                  <a:srgbClr val="004188"/>
                </a:solidFill>
                <a:latin typeface="Museo Sans Cyrl 500" panose="02000000000000000000" pitchFamily="50" charset="-52"/>
                <a:ea typeface="+mn-ea"/>
                <a:cs typeface="+mn-cs"/>
              </a:rPr>
              <a:t>Посада спікера</a:t>
            </a:r>
            <a:endParaRPr lang="en-US" sz="1400" kern="1200">
              <a:solidFill>
                <a:srgbClr val="004188"/>
              </a:solidFill>
              <a:latin typeface="Museo Sans Cyrl 500" panose="02000000000000000000" pitchFamily="50" charset="-52"/>
              <a:ea typeface="+mn-ea"/>
              <a:cs typeface="+mn-cs"/>
            </a:endParaRPr>
          </a:p>
        </p:txBody>
      </p:sp>
      <p:sp>
        <p:nvSpPr>
          <p:cNvPr id="20" name="Текст 19"/>
          <p:cNvSpPr>
            <a:spLocks noGrp="1"/>
          </p:cNvSpPr>
          <p:nvPr>
            <p:ph type="body" sz="quarter" idx="10" hasCustomPrompt="1"/>
          </p:nvPr>
        </p:nvSpPr>
        <p:spPr>
          <a:xfrm>
            <a:off x="685032" y="4052066"/>
            <a:ext cx="7323587" cy="539750"/>
          </a:xfrm>
          <a:prstGeom prst="rect">
            <a:avLst/>
          </a:prstGeom>
        </p:spPr>
        <p:txBody>
          <a:bodyPr/>
          <a:lstStyle>
            <a:lvl1pPr marL="0" indent="0" algn="l" defTabSz="914400" rtl="0" eaLnBrk="1" latinLnBrk="0" hangingPunct="1">
              <a:spcBef>
                <a:spcPts val="600"/>
              </a:spcBef>
              <a:buNone/>
              <a:defRPr>
                <a:latin typeface="Museo Sans Cyrl 900" panose="02000000000000000000" charset="-52"/>
              </a:defRPr>
            </a:lvl1pPr>
          </a:lstStyle>
          <a:p>
            <a:pPr marL="0" algn="l" defTabSz="914400" rtl="0" eaLnBrk="1" latinLnBrk="0" hangingPunct="1">
              <a:spcBef>
                <a:spcPts val="600"/>
              </a:spcBef>
            </a:pPr>
            <a:r>
              <a:rPr lang="uk-UA" sz="2800" kern="1200">
                <a:solidFill>
                  <a:srgbClr val="004188"/>
                </a:solidFill>
                <a:latin typeface="Museo Sans Cyrl 900" panose="02000000000000000000" pitchFamily="50" charset="-52"/>
                <a:ea typeface="+mn-ea"/>
                <a:cs typeface="+mn-cs"/>
              </a:rPr>
              <a:t>Ім’я спікера</a:t>
            </a:r>
            <a:endParaRPr lang="en-US" sz="2800" kern="1200">
              <a:solidFill>
                <a:srgbClr val="004188"/>
              </a:solidFill>
              <a:latin typeface="Museo Sans Cyrl 900" panose="02000000000000000000" pitchFamily="50" charset="-52"/>
              <a:ea typeface="+mn-ea"/>
              <a:cs typeface="+mn-cs"/>
            </a:endParaRPr>
          </a:p>
        </p:txBody>
      </p:sp>
      <p:sp>
        <p:nvSpPr>
          <p:cNvPr id="16" name="Заголовок 5"/>
          <p:cNvSpPr>
            <a:spLocks noGrp="1"/>
          </p:cNvSpPr>
          <p:nvPr>
            <p:ph type="ctrTitle" hasCustomPrompt="1"/>
          </p:nvPr>
        </p:nvSpPr>
        <p:spPr>
          <a:xfrm>
            <a:off x="707747" y="2404678"/>
            <a:ext cx="10744200" cy="738664"/>
          </a:xfrm>
          <a:prstGeom prst="rect">
            <a:avLst/>
          </a:prstGeom>
        </p:spPr>
        <p:txBody>
          <a:bodyPr/>
          <a:lstStyle>
            <a:lvl1pPr>
              <a:defRPr/>
            </a:lvl1pPr>
          </a:lstStyle>
          <a:p>
            <a:pPr>
              <a:lnSpc>
                <a:spcPct val="100000"/>
              </a:lnSpc>
              <a:spcBef>
                <a:spcPts val="600"/>
              </a:spcBef>
              <a:spcAft>
                <a:spcPts val="600"/>
              </a:spcAft>
            </a:pPr>
            <a:r>
              <a:rPr lang="ru-RU" sz="4800"/>
              <a:t>Заголовок слайда</a:t>
            </a:r>
            <a:endParaRPr lang="uk-UA" sz="4000">
              <a:solidFill>
                <a:srgbClr val="004188"/>
              </a:solidFill>
              <a:latin typeface="Museo Sans Cyrl 900" panose="02000000000000000000" pitchFamily="50" charset="-52"/>
            </a:endParaRPr>
          </a:p>
        </p:txBody>
      </p:sp>
      <p:pic>
        <p:nvPicPr>
          <p:cNvPr id="3" name="Рисунок 2">
            <a:extLst>
              <a:ext uri="{FF2B5EF4-FFF2-40B4-BE49-F238E27FC236}">
                <a16:creationId xmlns:a16="http://schemas.microsoft.com/office/drawing/2014/main" id="{991FE688-164E-414C-8960-CE836CDD8A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7747" y="519805"/>
            <a:ext cx="1935700" cy="869326"/>
          </a:xfrm>
          <a:prstGeom prst="rect">
            <a:avLst/>
          </a:prstGeom>
        </p:spPr>
      </p:pic>
    </p:spTree>
    <p:extLst>
      <p:ext uri="{BB962C8B-B14F-4D97-AF65-F5344CB8AC3E}">
        <p14:creationId xmlns:p14="http://schemas.microsoft.com/office/powerpoint/2010/main" val="30289146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Picture Placeholder 5">
            <a:extLst>
              <a:ext uri="{FF2B5EF4-FFF2-40B4-BE49-F238E27FC236}">
                <a16:creationId xmlns:a16="http://schemas.microsoft.com/office/drawing/2014/main" id="{8211ABC6-3B83-7643-AB85-397BA03D89D9}"/>
              </a:ext>
            </a:extLst>
          </p:cNvPr>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Tree>
    <p:extLst>
      <p:ext uri="{BB962C8B-B14F-4D97-AF65-F5344CB8AC3E}">
        <p14:creationId xmlns:p14="http://schemas.microsoft.com/office/powerpoint/2010/main" val="1608219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tartsida 2">
    <p:bg>
      <p:bgPr>
        <a:solidFill>
          <a:srgbClr val="0065AC"/>
        </a:solid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1424" y="1922880"/>
            <a:ext cx="8534400" cy="1470025"/>
          </a:xfrm>
        </p:spPr>
        <p:txBody>
          <a:bodyPr anchor="b"/>
          <a:lstStyle>
            <a:lvl1pPr>
              <a:lnSpc>
                <a:spcPts val="4400"/>
              </a:lnSpc>
              <a:spcBef>
                <a:spcPts val="300"/>
              </a:spcBef>
              <a:spcAft>
                <a:spcPts val="600"/>
              </a:spcAft>
              <a:defRPr sz="3800">
                <a:solidFill>
                  <a:schemeClr val="tx1"/>
                </a:solidFill>
              </a:defRPr>
            </a:lvl1pPr>
          </a:lstStyle>
          <a:p>
            <a:r>
              <a:rPr lang="sv-SE"/>
              <a:t>Presentationens titel</a:t>
            </a:r>
          </a:p>
        </p:txBody>
      </p:sp>
      <p:sp>
        <p:nvSpPr>
          <p:cNvPr id="3" name="Underrubrik 2"/>
          <p:cNvSpPr>
            <a:spLocks noGrp="1"/>
          </p:cNvSpPr>
          <p:nvPr>
            <p:ph type="subTitle" idx="1" hasCustomPrompt="1"/>
          </p:nvPr>
        </p:nvSpPr>
        <p:spPr>
          <a:xfrm>
            <a:off x="911424" y="3526160"/>
            <a:ext cx="8534400" cy="838944"/>
          </a:xfrm>
        </p:spPr>
        <p:txBody>
          <a:bodyPr/>
          <a:lstStyle>
            <a:lvl1pPr marL="0" indent="0" algn="l">
              <a:lnSpc>
                <a:spcPts val="3200"/>
              </a:lnSpc>
              <a:spcBef>
                <a:spcPts val="600"/>
              </a:spcBef>
              <a:spcAft>
                <a:spcPts val="300"/>
              </a:spcAft>
              <a:buNone/>
              <a:defRPr sz="2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Presentatör, datum osv.</a:t>
            </a:r>
          </a:p>
        </p:txBody>
      </p:sp>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7154" y="23787"/>
            <a:ext cx="4888720" cy="6858000"/>
          </a:xfrm>
          <a:prstGeom prst="rect">
            <a:avLst/>
          </a:prstGeom>
        </p:spPr>
      </p:pic>
      <p:pic>
        <p:nvPicPr>
          <p:cNvPr id="8" name="Bildobjekt 7" descr="The logotype of The Public Health Agency of Sweden "/>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2800" y="460800"/>
            <a:ext cx="2798509" cy="918000"/>
          </a:xfrm>
          <a:prstGeom prst="rect">
            <a:avLst/>
          </a:prstGeom>
        </p:spPr>
      </p:pic>
    </p:spTree>
    <p:extLst>
      <p:ext uri="{BB962C8B-B14F-4D97-AF65-F5344CB8AC3E}">
        <p14:creationId xmlns:p14="http://schemas.microsoft.com/office/powerpoint/2010/main" val="86146840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Kapitelsida">
    <p:bg>
      <p:bgPr>
        <a:solidFill>
          <a:srgbClr val="0065AC"/>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911424" y="2492896"/>
            <a:ext cx="8506104" cy="911990"/>
          </a:xfrm>
        </p:spPr>
        <p:txBody>
          <a:bodyPr/>
          <a:lstStyle>
            <a:lvl1pPr>
              <a:defRPr b="0" baseline="0">
                <a:solidFill>
                  <a:schemeClr val="bg1"/>
                </a:solidFill>
              </a:defRPr>
            </a:lvl1pPr>
          </a:lstStyle>
          <a:p>
            <a:r>
              <a:rPr lang="sv-SE"/>
              <a:t>Kapitelrubrik</a:t>
            </a:r>
          </a:p>
        </p:txBody>
      </p:sp>
      <p:pic>
        <p:nvPicPr>
          <p:cNvPr id="6" name="Bildobjekt 5" descr="The logotype of The Public Health Agency of Sweden "/>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2800" y="460800"/>
            <a:ext cx="2798509" cy="918000"/>
          </a:xfrm>
          <a:prstGeom prst="rect">
            <a:avLst/>
          </a:prstGeom>
        </p:spPr>
      </p:pic>
    </p:spTree>
    <p:extLst>
      <p:ext uri="{BB962C8B-B14F-4D97-AF65-F5344CB8AC3E}">
        <p14:creationId xmlns:p14="http://schemas.microsoft.com/office/powerpoint/2010/main" val="63690169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graphicFrame>
        <p:nvGraphicFramePr>
          <p:cNvPr id="3" name="Objec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4"/>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8A2E0C-4DC8-4CD2-A123-649317E5B18B}"/>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314" name="Title"/>
          <p:cNvSpPr>
            <a:spLocks noGrp="1" noChangeArrowheads="1"/>
          </p:cNvSpPr>
          <p:nvPr userDrawn="1">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24" name="Document type" hidden="1"/>
          <p:cNvSpPr txBox="1">
            <a:spLocks noChangeArrowheads="1"/>
          </p:cNvSpPr>
          <p:nvPr/>
        </p:nvSpPr>
        <p:spPr bwMode="gray">
          <a:xfrm>
            <a:off x="3846286" y="4335545"/>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ocument</a:t>
            </a:r>
          </a:p>
        </p:txBody>
      </p:sp>
      <p:sp>
        <p:nvSpPr>
          <p:cNvPr id="25" name="Date" hidden="1"/>
          <p:cNvSpPr txBox="1">
            <a:spLocks noChangeArrowheads="1"/>
          </p:cNvSpPr>
          <p:nvPr/>
        </p:nvSpPr>
        <p:spPr bwMode="gray">
          <a:xfrm>
            <a:off x="3846286" y="4641933"/>
            <a:ext cx="7520812" cy="24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600" baseline="0" noProof="0">
                <a:solidFill>
                  <a:schemeClr val="tx1"/>
                </a:solidFill>
                <a:latin typeface="+mn-lt"/>
              </a:rPr>
              <a:t>Date</a:t>
            </a:r>
          </a:p>
        </p:txBody>
      </p:sp>
      <p:sp>
        <p:nvSpPr>
          <p:cNvPr id="8" name="Rectangle 7">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18" name="Rectangle 17">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1436807179"/>
      </p:ext>
    </p:extLst>
  </p:cSld>
  <p:clrMapOvr>
    <a:masterClrMapping/>
  </p:clrMapOvr>
  <p:extLst>
    <p:ext uri="{DCECCB84-F9BA-43D5-87BE-67443E8EF086}">
      <p15:sldGuideLst xmlns:p15="http://schemas.microsoft.com/office/powerpoint/2012/main">
        <p15:guide id="1" orient="horz" pos="1620">
          <p15:clr>
            <a:srgbClr val="FBAE40"/>
          </p15:clr>
        </p15:guide>
        <p15:guide id="2" pos="2881">
          <p15:clr>
            <a:srgbClr val="FBAE40"/>
          </p15:clr>
        </p15:guide>
        <p15:guide id="3">
          <p15:clr>
            <a:srgbClr val="FBAE40"/>
          </p15:clr>
        </p15:guide>
        <p15:guide id="4" pos="5767">
          <p15:clr>
            <a:srgbClr val="FBAE40"/>
          </p15:clr>
        </p15:guide>
        <p15:guide id="5" pos="567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51816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8" name="Straight Connector 7">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
        <p:nvSpPr>
          <p:cNvPr id="10"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solidFill>
                  <a:srgbClr val="FFFFFF"/>
                </a:solidFill>
              </a:defRPr>
            </a:lvl1pPr>
          </a:lstStyle>
          <a:p>
            <a:pPr lvl="0" latinLnBrk="0"/>
            <a:r>
              <a:rPr lang="en-US"/>
              <a:t>Click to edit Master title style</a:t>
            </a:r>
            <a:endParaRPr lang="en-US" noProof="0"/>
          </a:p>
        </p:txBody>
      </p:sp>
    </p:spTree>
    <p:extLst>
      <p:ext uri="{BB962C8B-B14F-4D97-AF65-F5344CB8AC3E}">
        <p14:creationId xmlns:p14="http://schemas.microsoft.com/office/powerpoint/2010/main" val="3875864371"/>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hapter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747888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4852875-E308-4DD1-BE9D-7E58808233F6}"/>
              </a:ext>
            </a:extLst>
          </p:cNvPr>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pl-PL" sz="8800" b="1"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6ECC4FC3-1C5D-44CD-BF5C-5BD34AF5B30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25400"/>
            <a:ext cx="12192001" cy="6053169"/>
          </a:xfrm>
          <a:prstGeom prst="rect">
            <a:avLst/>
          </a:prstGeom>
        </p:spPr>
      </p:pic>
      <p:sp>
        <p:nvSpPr>
          <p:cNvPr id="7" name="Title Placeholder 2"/>
          <p:cNvSpPr>
            <a:spLocks noGrp="1" noChangeArrowheads="1"/>
          </p:cNvSpPr>
          <p:nvPr>
            <p:ph type="title" hasCustomPrompt="1"/>
          </p:nvPr>
        </p:nvSpPr>
        <p:spPr bwMode="gray">
          <a:xfrm>
            <a:off x="609600" y="2367354"/>
            <a:ext cx="10972800" cy="1354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sz="8800">
                <a:solidFill>
                  <a:srgbClr val="FFFFFF"/>
                </a:solidFill>
              </a:defRPr>
            </a:lvl1pPr>
          </a:lstStyle>
          <a:p>
            <a:pPr lvl="0" latinLnBrk="0"/>
            <a:r>
              <a:rPr lang="pl-PL"/>
              <a:t>Chapter 1</a:t>
            </a:r>
            <a:endParaRPr lang="en-US" noProof="0"/>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4158462472"/>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4" name="Object 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4" name="Rectangle 3">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5"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6" name="Straight Connector 5">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
        <p:nvSpPr>
          <p:cNvPr id="2" name="Title 1">
            <a:extLst>
              <a:ext uri="{FF2B5EF4-FFF2-40B4-BE49-F238E27FC236}">
                <a16:creationId xmlns:a16="http://schemas.microsoft.com/office/drawing/2014/main" id="{646F5732-9390-490D-8536-7C8361D5B6A3}"/>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A4CA1EDF-F836-40C7-9EAD-F3C6106620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43765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1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18" name="Straight Connector 17">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20" name="TextBox 1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1" name="Group 2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2" name="TextBox 2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3" name="TextBox 2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24" name="Picture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
        <p:nvSpPr>
          <p:cNvPr id="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09600" y="583673"/>
            <a:ext cx="10972800"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051429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09600" y="2085629"/>
            <a:ext cx="10972800" cy="3718284"/>
          </a:xfrm>
        </p:spPr>
        <p:txBody>
          <a:bodyPr/>
          <a:lstStyle>
            <a:lvl1pPr>
              <a:lnSpc>
                <a:spcPct val="100000"/>
              </a:lnSpc>
              <a:spcBef>
                <a:spcPts val="0"/>
              </a:spcBef>
              <a:spcAft>
                <a:spcPts val="0"/>
              </a:spcAft>
              <a:buClr>
                <a:srgbClr val="1E7FB8"/>
              </a:buClr>
              <a:defRPr sz="2000">
                <a:solidFill>
                  <a:srgbClr val="575757"/>
                </a:solidFill>
                <a:latin typeface="+mn-lt"/>
                <a:ea typeface="+mn-ea"/>
                <a:cs typeface="+mn-cs"/>
                <a:sym typeface="+mn-lt"/>
              </a:defRPr>
            </a:lvl1pPr>
            <a:lvl2pPr>
              <a:lnSpc>
                <a:spcPct val="100000"/>
              </a:lnSpc>
              <a:spcBef>
                <a:spcPts val="0"/>
              </a:spcBef>
              <a:spcAft>
                <a:spcPts val="0"/>
              </a:spcAft>
              <a:buClr>
                <a:srgbClr val="1E7FB8"/>
              </a:buClr>
              <a:defRPr sz="2000">
                <a:solidFill>
                  <a:srgbClr val="575757"/>
                </a:solidFill>
                <a:latin typeface="+mn-lt"/>
                <a:ea typeface="+mn-ea"/>
                <a:cs typeface="+mn-cs"/>
                <a:sym typeface="+mn-lt"/>
              </a:defRPr>
            </a:lvl2pPr>
            <a:lvl3pPr>
              <a:lnSpc>
                <a:spcPct val="100000"/>
              </a:lnSpc>
              <a:spcBef>
                <a:spcPts val="0"/>
              </a:spcBef>
              <a:spcAft>
                <a:spcPts val="0"/>
              </a:spcAft>
              <a:buClr>
                <a:srgbClr val="1E7FB8"/>
              </a:buClr>
              <a:defRPr sz="2000">
                <a:solidFill>
                  <a:srgbClr val="575757"/>
                </a:solidFill>
                <a:latin typeface="+mn-lt"/>
                <a:ea typeface="+mn-ea"/>
                <a:cs typeface="+mn-cs"/>
                <a:sym typeface="+mn-lt"/>
              </a:defRPr>
            </a:lvl3pPr>
            <a:lvl4pPr marL="0" indent="0">
              <a:lnSpc>
                <a:spcPct val="100000"/>
              </a:lnSpc>
              <a:spcBef>
                <a:spcPts val="0"/>
              </a:spcBef>
              <a:spcAft>
                <a:spcPts val="0"/>
              </a:spcAft>
              <a:buClr>
                <a:srgbClr val="1E7FB8"/>
              </a:buClr>
              <a:buFontTx/>
              <a:buNone/>
              <a:defRPr sz="2400">
                <a:solidFill>
                  <a:schemeClr val="tx2"/>
                </a:solidFill>
                <a:latin typeface="+mn-lt"/>
                <a:ea typeface="+mn-ea"/>
                <a:cs typeface="+mn-cs"/>
                <a:sym typeface="+mn-lt"/>
              </a:defRPr>
            </a:lvl4pPr>
            <a:lvl5pPr marL="0" indent="0">
              <a:lnSpc>
                <a:spcPct val="100000"/>
              </a:lnSpc>
              <a:spcBef>
                <a:spcPts val="0"/>
              </a:spcBef>
              <a:spcAft>
                <a:spcPts val="0"/>
              </a:spcAft>
              <a:buClr>
                <a:srgbClr val="1E7FB8"/>
              </a:buClr>
              <a:buFontTx/>
              <a:buNone/>
              <a:defRPr sz="2400" b="1">
                <a:solidFill>
                  <a:srgbClr val="575757"/>
                </a:solidFill>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9" name="Straight Connector 8">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Title 4"/>
          <p:cNvSpPr>
            <a:spLocks noGrp="1"/>
          </p:cNvSpPr>
          <p:nvPr>
            <p:ph type="title" hasCustomPrompt="1"/>
          </p:nvPr>
        </p:nvSpPr>
        <p:spPr>
          <a:xfrm>
            <a:off x="609600" y="583673"/>
            <a:ext cx="10972800"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538037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09600" y="1544274"/>
            <a:ext cx="3472800" cy="1495794"/>
          </a:xfrm>
          <a:noFill/>
        </p:spPr>
        <p:txBody>
          <a:bodyPr wrap="square" lIns="0" tIns="0" rIns="320040" bIns="0" anchor="b">
            <a:noAutofit/>
          </a:bodyPr>
          <a:lstStyle>
            <a:lvl1pPr>
              <a:defRPr sz="3200">
                <a:solidFill>
                  <a:srgbClr val="1E7FB8"/>
                </a:solidFill>
                <a:latin typeface="+mj-lt"/>
                <a:ea typeface="+mj-ea"/>
                <a:cs typeface="+mj-cs"/>
                <a:sym typeface="+mj-lt"/>
              </a:defRPr>
            </a:lvl1pPr>
          </a:lstStyle>
          <a:p>
            <a:r>
              <a:rPr lang="en-US"/>
              <a:t>Click to add title</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1854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609599" y="2668041"/>
            <a:ext cx="10972800"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59" name="Rectangle 58"/>
          <p:cNvSpPr/>
          <p:nvPr userDrawn="1"/>
        </p:nvSpPr>
        <p:spPr bwMode="white">
          <a:xfrm>
            <a:off x="609600"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18110977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16947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47" name="Title 1"/>
          <p:cNvSpPr>
            <a:spLocks noGrp="1"/>
          </p:cNvSpPr>
          <p:nvPr>
            <p:ph type="title" hasCustomPrompt="1"/>
          </p:nvPr>
        </p:nvSpPr>
        <p:spPr bwMode="blackWhite">
          <a:xfrm>
            <a:off x="609600" y="3826800"/>
            <a:ext cx="10972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09600" y="3680016"/>
            <a:ext cx="115856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149794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27" name="Title 4"/>
          <p:cNvSpPr>
            <a:spLocks noGrp="1"/>
          </p:cNvSpPr>
          <p:nvPr>
            <p:ph type="title" hasCustomPrompt="1"/>
          </p:nvPr>
        </p:nvSpPr>
        <p:spPr>
          <a:xfrm>
            <a:off x="609600" y="2681103"/>
            <a:ext cx="3148281" cy="1495794"/>
          </a:xfrm>
          <a:prstGeom prst="rect">
            <a:avLst/>
          </a:prstGeom>
        </p:spPr>
        <p:txBody>
          <a:bodyPr anchor="ctr">
            <a:noAutofit/>
          </a:bodyPr>
          <a:lstStyle>
            <a:lvl1pPr>
              <a:defRPr sz="3200">
                <a:solidFill>
                  <a:srgbClr val="1E7FB8"/>
                </a:solidFill>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14041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23" name="Title 3"/>
          <p:cNvSpPr>
            <a:spLocks noGrp="1"/>
          </p:cNvSpPr>
          <p:nvPr>
            <p:ph type="title" hasCustomPrompt="1"/>
          </p:nvPr>
        </p:nvSpPr>
        <p:spPr>
          <a:xfrm>
            <a:off x="609600" y="583673"/>
            <a:ext cx="6277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1E7FB8"/>
                </a:solidFill>
                <a:latin typeface="+mj-lt"/>
                <a:ea typeface="+mj-ea"/>
                <a:cs typeface="+mj-cs"/>
                <a:sym typeface="+mj-lt"/>
              </a:defRPr>
            </a:lvl1pPr>
          </a:lstStyle>
          <a:p>
            <a:pPr lvl="0"/>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096599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09600" y="2681103"/>
            <a:ext cx="31482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7" name="TextBox 16">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8" name="Group 17">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9" name="TextBox 18">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986280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3" name="Picture Placeholder 18"/>
          <p:cNvSpPr>
            <a:spLocks noGrp="1"/>
          </p:cNvSpPr>
          <p:nvPr>
            <p:ph type="pic" sz="quarter" idx="14" hasCustomPrompt="1"/>
          </p:nvPr>
        </p:nvSpPr>
        <p:spPr>
          <a:xfrm>
            <a:off x="6096000" y="0"/>
            <a:ext cx="6099977" cy="6858000"/>
          </a:xfrm>
          <a:prstGeom prst="rect">
            <a:avLst/>
          </a:prstGeom>
          <a:noFill/>
        </p:spPr>
        <p:txBody>
          <a:bodyPr lIns="914400" tIns="914400" rIns="914400" bIns="914400"/>
          <a:lstStyle>
            <a:lvl1pPr algn="ctr">
              <a:defRPr sz="1800" baseline="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09600" y="1785600"/>
            <a:ext cx="44088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7" name="Group 1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8" name="TextBox 17">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9" name="Group 18">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0" name="TextBox 19">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2" name="TextBox 2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222940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20026" y="0"/>
            <a:ext cx="4372457"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09600" y="1804650"/>
            <a:ext cx="62679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7" name="Group 1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8" name="TextBox 17">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9" name="Group 18">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0" name="TextBox 19">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1" name="TextBox 20">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2"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3" name="Picture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711612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7" name="Title 2"/>
          <p:cNvSpPr>
            <a:spLocks noGrp="1"/>
          </p:cNvSpPr>
          <p:nvPr>
            <p:ph type="title" hasCustomPrompt="1"/>
          </p:nvPr>
        </p:nvSpPr>
        <p:spPr>
          <a:xfrm>
            <a:off x="609600" y="2764203"/>
            <a:ext cx="2499038" cy="1314311"/>
          </a:xfrm>
          <a:prstGeom prst="rect">
            <a:avLst/>
          </a:prstGeom>
        </p:spPr>
        <p:txBody>
          <a:bodyPr anchor="ctr">
            <a:noAutofit/>
          </a:bodyPr>
          <a:lstStyle>
            <a:lvl1pPr>
              <a:defRPr sz="3200" baseline="0">
                <a:solidFill>
                  <a:srgbClr val="1E7FB8"/>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7124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09600" y="2764203"/>
            <a:ext cx="24990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013353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4"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1E7FB8"/>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954495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14"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8" name="Group 17">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9" name="TextBox 18">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78460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4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08154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6" name="Title 2"/>
          <p:cNvSpPr>
            <a:spLocks noGrp="1"/>
          </p:cNvSpPr>
          <p:nvPr>
            <p:ph type="title" hasCustomPrompt="1"/>
          </p:nvPr>
        </p:nvSpPr>
        <p:spPr>
          <a:xfrm>
            <a:off x="609600" y="583673"/>
            <a:ext cx="46940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61809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16" name="Title 2"/>
          <p:cNvSpPr>
            <a:spLocks noGrp="1"/>
          </p:cNvSpPr>
          <p:nvPr>
            <p:ph type="title" hasCustomPrompt="1"/>
          </p:nvPr>
        </p:nvSpPr>
        <p:spPr>
          <a:xfrm>
            <a:off x="609600" y="583673"/>
            <a:ext cx="46940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06452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1" name="Title 3"/>
          <p:cNvSpPr>
            <a:spLocks noGrp="1"/>
          </p:cNvSpPr>
          <p:nvPr>
            <p:ph type="title" hasCustomPrompt="1"/>
          </p:nvPr>
        </p:nvSpPr>
        <p:spPr>
          <a:xfrm>
            <a:off x="609600" y="583673"/>
            <a:ext cx="6277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7" name="TextBox 16">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8" name="Group 17">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9" name="TextBox 18">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8934403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11" name="Title 3"/>
          <p:cNvSpPr>
            <a:spLocks noGrp="1"/>
          </p:cNvSpPr>
          <p:nvPr>
            <p:ph type="title" hasCustomPrompt="1"/>
          </p:nvPr>
        </p:nvSpPr>
        <p:spPr>
          <a:xfrm>
            <a:off x="609600" y="583673"/>
            <a:ext cx="6277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0" name="TextBox 19">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009336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a:xfrm>
            <a:off x="609600" y="3826333"/>
            <a:ext cx="109536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009911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p:cNvSpPr/>
          <p:nvPr userDrawn="1"/>
        </p:nvSpPr>
        <p:spPr bwMode="white">
          <a:xfrm>
            <a:off x="609600" y="625475"/>
            <a:ext cx="932688" cy="932688"/>
          </a:xfrm>
          <a:prstGeom prst="rect">
            <a:avLst/>
          </a:prstGeom>
          <a:noFill/>
          <a:ln w="9525">
            <a:solidFill>
              <a:srgbClr val="1E7FB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09600" y="3826333"/>
            <a:ext cx="109728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E7FB8"/>
                </a:solidFill>
                <a:latin typeface="+mj-lt"/>
                <a:ea typeface="+mj-ea"/>
                <a:cs typeface="+mj-cs"/>
                <a:sym typeface="+mj-lt"/>
              </a:defRPr>
            </a:lvl1pPr>
          </a:lstStyle>
          <a:p>
            <a:r>
              <a:rPr lang="en-US"/>
              <a:t>Click to add big statement text</a:t>
            </a: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633161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165F8A"/>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E7FB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067865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hasCustomPrompt="1"/>
          </p:nvPr>
        </p:nvSpPr>
        <p:spPr>
          <a:xfrm>
            <a:off x="609600" y="583673"/>
            <a:ext cx="10972800" cy="470898"/>
          </a:xfrm>
        </p:spPr>
        <p:txBody>
          <a:bodyPr anchor="t"/>
          <a:lstStyle>
            <a:lvl1pPr>
              <a:defRPr sz="3400">
                <a:solidFill>
                  <a:schemeClr val="bg1"/>
                </a:solidFill>
                <a:latin typeface="+mj-lt"/>
                <a:ea typeface="+mj-ea"/>
                <a:cs typeface="+mj-cs"/>
                <a:sym typeface="+mj-lt"/>
              </a:defRPr>
            </a:lvl1pPr>
          </a:lstStyle>
          <a:p>
            <a:r>
              <a:rPr lang="en-US"/>
              <a:t>Click to add title</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394202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31257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210827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5" name="Picture 14"/>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6183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13532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rgbClr val="4BACC6">
              <a:lumMod val="20000"/>
              <a:lumOff val="80000"/>
            </a:srgbClr>
          </a:solidFill>
          <a:ln w="9525" cap="flat" cmpd="sng" algn="ctr">
            <a:noFill/>
            <a:prstDash val="solid"/>
          </a:ln>
          <a:effectLst/>
        </p:spPr>
        <p:txBody>
          <a:bodyPr rot="0" spcFirstLastPara="0" vertOverflow="overflow" horzOverflow="overflow" vert="horz" wrap="square" lIns="3108960" tIns="73152" rIns="73152" bIns="73152" numCol="1" spcCol="0" rtlCol="0" fromWordArt="0" anchor="ctr" anchorCtr="0" forceAA="0" compatLnSpc="1">
            <a:prstTxWarp prst="textNoShape">
              <a:avLst/>
            </a:prstTxWarp>
            <a:noAutofit/>
          </a:bodyPr>
          <a:lstStyle/>
          <a:p>
            <a:pPr marL="0" marR="0" lvl="0" indent="0" algn="l" defTabSz="913572" rtl="0" eaLnBrk="1" fontAlgn="base" latinLnBrk="0" hangingPunct="1">
              <a:lnSpc>
                <a:spcPct val="100000"/>
              </a:lnSpc>
              <a:spcBef>
                <a:spcPct val="0"/>
              </a:spcBef>
              <a:spcAft>
                <a:spcPct val="0"/>
              </a:spcAft>
              <a:buClr>
                <a:schemeClr val="tx2"/>
              </a:buClr>
              <a:buSzTx/>
              <a:buFontTx/>
              <a:buNone/>
              <a:tabLst>
                <a:tab pos="361950" algn="l"/>
              </a:tabLst>
              <a:defRPr/>
            </a:pPr>
            <a:r>
              <a:rPr lang="en-US" sz="5400" b="1" baseline="0" noProof="0">
                <a:solidFill>
                  <a:srgbClr val="3092D3"/>
                </a:solidFill>
                <a:latin typeface="+mj-lt"/>
                <a:ea typeface="+mj-ea"/>
                <a:cs typeface="+mj-cs"/>
              </a:rPr>
              <a:t>Thank you!</a:t>
            </a:r>
          </a:p>
        </p:txBody>
      </p:sp>
      <p:sp>
        <p:nvSpPr>
          <p:cNvPr id="13" name="Rectangle 12">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4" name="Group 13">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6" name="TextBox 15">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21" name="Picture 2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
        <p:nvSpPr>
          <p:cNvPr id="23" name="Rectangle 22">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1150812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118" name="Group 117"/>
          <p:cNvGrpSpPr/>
          <p:nvPr userDrawn="1"/>
        </p:nvGrpSpPr>
        <p:grpSpPr>
          <a:xfrm>
            <a:off x="-600" y="-1"/>
            <a:ext cx="12193800" cy="6858001"/>
            <a:chOff x="-600" y="-1"/>
            <a:chExt cx="12193800" cy="6858001"/>
          </a:xfrm>
        </p:grpSpPr>
        <p:grpSp>
          <p:nvGrpSpPr>
            <p:cNvPr id="119" name="Group 118"/>
            <p:cNvGrpSpPr/>
            <p:nvPr/>
          </p:nvGrpSpPr>
          <p:grpSpPr>
            <a:xfrm>
              <a:off x="629400" y="623550"/>
              <a:ext cx="10933200" cy="4953237"/>
              <a:chOff x="629400" y="623550"/>
              <a:chExt cx="10933200" cy="5537047"/>
            </a:xfrm>
          </p:grpSpPr>
          <p:sp>
            <p:nvSpPr>
              <p:cNvPr id="151" name="Rectangle 34"/>
              <p:cNvSpPr>
                <a:spLocks noChangeArrowheads="1"/>
              </p:cNvSpPr>
              <p:nvPr/>
            </p:nvSpPr>
            <p:spPr bwMode="auto">
              <a:xfrm>
                <a:off x="688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Rectangle 35"/>
              <p:cNvSpPr>
                <a:spLocks noChangeArrowheads="1"/>
              </p:cNvSpPr>
              <p:nvPr/>
            </p:nvSpPr>
            <p:spPr bwMode="auto">
              <a:xfrm>
                <a:off x="875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36"/>
              <p:cNvSpPr>
                <a:spLocks noChangeArrowheads="1"/>
              </p:cNvSpPr>
              <p:nvPr/>
            </p:nvSpPr>
            <p:spPr bwMode="auto">
              <a:xfrm>
                <a:off x="782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37"/>
              <p:cNvSpPr>
                <a:spLocks noChangeArrowheads="1"/>
              </p:cNvSpPr>
              <p:nvPr/>
            </p:nvSpPr>
            <p:spPr bwMode="auto">
              <a:xfrm>
                <a:off x="969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Rectangle 38"/>
              <p:cNvSpPr>
                <a:spLocks noChangeArrowheads="1"/>
              </p:cNvSpPr>
              <p:nvPr/>
            </p:nvSpPr>
            <p:spPr bwMode="auto">
              <a:xfrm>
                <a:off x="1062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Rectangle 39"/>
              <p:cNvSpPr>
                <a:spLocks noChangeArrowheads="1"/>
              </p:cNvSpPr>
              <p:nvPr/>
            </p:nvSpPr>
            <p:spPr bwMode="auto">
              <a:xfrm>
                <a:off x="595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40"/>
              <p:cNvSpPr>
                <a:spLocks noChangeArrowheads="1"/>
              </p:cNvSpPr>
              <p:nvPr/>
            </p:nvSpPr>
            <p:spPr bwMode="auto">
              <a:xfrm>
                <a:off x="127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Rectangle 41"/>
              <p:cNvSpPr>
                <a:spLocks noChangeArrowheads="1"/>
              </p:cNvSpPr>
              <p:nvPr/>
            </p:nvSpPr>
            <p:spPr bwMode="auto">
              <a:xfrm>
                <a:off x="221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42"/>
              <p:cNvSpPr>
                <a:spLocks noChangeArrowheads="1"/>
              </p:cNvSpPr>
              <p:nvPr/>
            </p:nvSpPr>
            <p:spPr bwMode="auto">
              <a:xfrm>
                <a:off x="314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Rectangle 43"/>
              <p:cNvSpPr>
                <a:spLocks noChangeArrowheads="1"/>
              </p:cNvSpPr>
              <p:nvPr/>
            </p:nvSpPr>
            <p:spPr bwMode="auto">
              <a:xfrm>
                <a:off x="408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Rectangle 44"/>
              <p:cNvSpPr>
                <a:spLocks noChangeArrowheads="1"/>
              </p:cNvSpPr>
              <p:nvPr/>
            </p:nvSpPr>
            <p:spPr bwMode="auto">
              <a:xfrm>
                <a:off x="501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Rectangle 5"/>
              <p:cNvSpPr>
                <a:spLocks noChangeArrowheads="1"/>
              </p:cNvSpPr>
              <p:nvPr/>
            </p:nvSpPr>
            <p:spPr bwMode="auto">
              <a:xfrm>
                <a:off x="2880128" y="5975122"/>
                <a:ext cx="1930288"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Rectangle 7"/>
              <p:cNvSpPr>
                <a:spLocks noChangeArrowheads="1"/>
              </p:cNvSpPr>
              <p:nvPr/>
            </p:nvSpPr>
            <p:spPr bwMode="auto">
              <a:xfrm>
                <a:off x="9626194"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Rectangle 9"/>
              <p:cNvSpPr>
                <a:spLocks noChangeArrowheads="1"/>
              </p:cNvSpPr>
              <p:nvPr/>
            </p:nvSpPr>
            <p:spPr bwMode="auto">
              <a:xfrm>
                <a:off x="7372407"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11"/>
              <p:cNvSpPr>
                <a:spLocks noChangeArrowheads="1"/>
              </p:cNvSpPr>
              <p:nvPr/>
            </p:nvSpPr>
            <p:spPr bwMode="auto">
              <a:xfrm>
                <a:off x="5127797" y="5975122"/>
                <a:ext cx="1927229"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Rectangle 13"/>
              <p:cNvSpPr>
                <a:spLocks noChangeArrowheads="1"/>
              </p:cNvSpPr>
              <p:nvPr/>
            </p:nvSpPr>
            <p:spPr bwMode="auto">
              <a:xfrm>
                <a:off x="629400" y="5975122"/>
                <a:ext cx="1933347"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119"/>
            <p:cNvSpPr/>
            <p:nvPr/>
          </p:nvSpPr>
          <p:spPr>
            <a:xfrm>
              <a:off x="0" y="-1"/>
              <a:ext cx="12193200" cy="6858000"/>
            </a:xfrm>
            <a:custGeom>
              <a:avLst/>
              <a:gdLst>
                <a:gd name="connsiteX0" fmla="*/ 630001 w 12193200"/>
                <a:gd name="connsiteY0" fmla="*/ 622800 h 6858000"/>
                <a:gd name="connsiteX1" fmla="*/ 630001 w 12193200"/>
                <a:gd name="connsiteY1" fmla="*/ 623551 h 6858000"/>
                <a:gd name="connsiteX2" fmla="*/ 609599 w 12193200"/>
                <a:gd name="connsiteY2" fmla="*/ 623551 h 6858000"/>
                <a:gd name="connsiteX3" fmla="*/ 609599 w 12193200"/>
                <a:gd name="connsiteY3" fmla="*/ 5576788 h 6858000"/>
                <a:gd name="connsiteX4" fmla="*/ 630001 w 12193200"/>
                <a:gd name="connsiteY4" fmla="*/ 5576788 h 6858000"/>
                <a:gd name="connsiteX5" fmla="*/ 630001 w 12193200"/>
                <a:gd name="connsiteY5" fmla="*/ 6160597 h 6858000"/>
                <a:gd name="connsiteX6" fmla="*/ 11562000 w 12193200"/>
                <a:gd name="connsiteY6" fmla="*/ 6160597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623551"/>
                  </a:lnTo>
                  <a:lnTo>
                    <a:pt x="609599" y="623551"/>
                  </a:lnTo>
                  <a:lnTo>
                    <a:pt x="609599" y="5576788"/>
                  </a:lnTo>
                  <a:lnTo>
                    <a:pt x="630001" y="5576788"/>
                  </a:ln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71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121" name="Group 120"/>
            <p:cNvGrpSpPr/>
            <p:nvPr/>
          </p:nvGrpSpPr>
          <p:grpSpPr>
            <a:xfrm>
              <a:off x="-600" y="0"/>
              <a:ext cx="12193200" cy="6858000"/>
              <a:chOff x="-600" y="0"/>
              <a:chExt cx="12193200" cy="6858000"/>
            </a:xfrm>
          </p:grpSpPr>
          <p:grpSp>
            <p:nvGrpSpPr>
              <p:cNvPr id="122" name="Group 121"/>
              <p:cNvGrpSpPr/>
              <p:nvPr/>
            </p:nvGrpSpPr>
            <p:grpSpPr>
              <a:xfrm>
                <a:off x="-600" y="622800"/>
                <a:ext cx="12193200" cy="4953987"/>
                <a:chOff x="-600" y="622800"/>
                <a:chExt cx="12193200" cy="4953987"/>
              </a:xfrm>
            </p:grpSpPr>
            <p:cxnSp>
              <p:nvCxnSpPr>
                <p:cNvPr id="129" name="Straight Connector 128"/>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600" y="95284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23" name="Group 122"/>
              <p:cNvGrpSpPr/>
              <p:nvPr/>
            </p:nvGrpSpPr>
            <p:grpSpPr>
              <a:xfrm>
                <a:off x="-600" y="0"/>
                <a:ext cx="12193200" cy="6858000"/>
                <a:chOff x="-600" y="0"/>
                <a:chExt cx="12193200" cy="6858000"/>
              </a:xfrm>
            </p:grpSpPr>
            <p:sp>
              <p:nvSpPr>
                <p:cNvPr id="124"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395A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25" name="Footnote measure"/>
                <p:cNvSpPr>
                  <a:spLocks noChangeArrowheads="1"/>
                </p:cNvSpPr>
                <p:nvPr/>
              </p:nvSpPr>
              <p:spPr bwMode="auto">
                <a:xfrm>
                  <a:off x="609599" y="5575247"/>
                  <a:ext cx="10953001" cy="962937"/>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Whitespace measure"/>
                <p:cNvSpPr>
                  <a:spLocks noChangeArrowheads="1"/>
                </p:cNvSpPr>
                <p:nvPr/>
              </p:nvSpPr>
              <p:spPr bwMode="auto">
                <a:xfrm>
                  <a:off x="609599" y="1497600"/>
                  <a:ext cx="10953001" cy="583200"/>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Live area"/>
                <p:cNvSpPr/>
                <p:nvPr/>
              </p:nvSpPr>
              <p:spPr>
                <a:xfrm>
                  <a:off x="609599" y="2080801"/>
                  <a:ext cx="10953001" cy="349598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C00000">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8" name="Footnote example"/>
                <p:cNvSpPr txBox="1"/>
                <p:nvPr/>
              </p:nvSpPr>
              <p:spPr>
                <a:xfrm>
                  <a:off x="609599" y="5575247"/>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grpSp>
    </p:spTree>
    <p:extLst>
      <p:ext uri="{BB962C8B-B14F-4D97-AF65-F5344CB8AC3E}">
        <p14:creationId xmlns:p14="http://schemas.microsoft.com/office/powerpoint/2010/main" val="3528634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Rectangle 11">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16" name="Title"/>
          <p:cNvSpPr>
            <a:spLocks noGrp="1" noChangeArrowheads="1"/>
          </p:cNvSpPr>
          <p:nvPr>
            <p:ph type="ctrTitle"/>
          </p:nvPr>
        </p:nvSpPr>
        <p:spPr bwMode="gray">
          <a:xfrm>
            <a:off x="3846285" y="1903716"/>
            <a:ext cx="7696701" cy="1354217"/>
          </a:xfrm>
          <a:prstGeom prst="rect">
            <a:avLst/>
          </a:prstGeom>
        </p:spPr>
        <p:txBody>
          <a:bodyPr wrap="square" anchor="b" anchorCtr="0">
            <a:spAutoFit/>
          </a:bodyPr>
          <a:lstStyle>
            <a:lvl1pPr>
              <a:lnSpc>
                <a:spcPct val="100000"/>
              </a:lnSpc>
              <a:defRPr lang="x-none" sz="4400" b="1" baseline="0">
                <a:solidFill>
                  <a:schemeClr val="accent2"/>
                </a:solidFill>
                <a:latin typeface="+mj-lt"/>
                <a:ea typeface="+mj-ea"/>
              </a:defRPr>
            </a:lvl1pPr>
          </a:lstStyle>
          <a:p>
            <a:pPr lvl="0" latinLnBrk="0"/>
            <a:r>
              <a:rPr lang="en-US" noProof="0"/>
              <a:t>Click to edit Master title style</a:t>
            </a:r>
          </a:p>
        </p:txBody>
      </p:sp>
      <p:sp>
        <p:nvSpPr>
          <p:cNvPr id="17" name="Subtitle"/>
          <p:cNvSpPr>
            <a:spLocks noGrp="1" noChangeArrowheads="1"/>
          </p:cNvSpPr>
          <p:nvPr>
            <p:ph type="subTitle" idx="1"/>
          </p:nvPr>
        </p:nvSpPr>
        <p:spPr bwMode="gray">
          <a:xfrm>
            <a:off x="3846285" y="3437788"/>
            <a:ext cx="7696701" cy="307777"/>
          </a:xfrm>
          <a:prstGeom prst="rect">
            <a:avLst/>
          </a:prstGeom>
        </p:spPr>
        <p:txBody>
          <a:bodyPr wrap="square">
            <a:spAutoFit/>
          </a:bodyPr>
          <a:lstStyle>
            <a:lvl1pPr marL="0" indent="0">
              <a:buFontTx/>
              <a:buNone/>
              <a:defRPr lang="x-none" sz="2001" cap="none" baseline="0">
                <a:solidFill>
                  <a:schemeClr val="tx1"/>
                </a:solidFill>
                <a:latin typeface="+mj-lt"/>
                <a:ea typeface="+mn-ea"/>
              </a:defRPr>
            </a:lvl1pPr>
          </a:lstStyle>
          <a:p>
            <a:pPr lvl="0" latinLnBrk="0"/>
            <a:r>
              <a:rPr lang="en-US" noProof="0"/>
              <a:t>Click to edit Master subtitle style</a:t>
            </a:r>
          </a:p>
        </p:txBody>
      </p:sp>
      <p:sp>
        <p:nvSpPr>
          <p:cNvPr id="19" name="Rectangle 18">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23" name="Group 22">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24" name="TextBox 23">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5" name="Group 24">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28" name="TextBox 27">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9" name="TextBox 28">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30" name="Rectangle 29">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pic>
        <p:nvPicPr>
          <p:cNvPr id="31" name="Picture 3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Tree>
    <p:extLst>
      <p:ext uri="{BB962C8B-B14F-4D97-AF65-F5344CB8AC3E}">
        <p14:creationId xmlns:p14="http://schemas.microsoft.com/office/powerpoint/2010/main" val="4019646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9" name="Rectangle 8">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cxnSp>
        <p:nvCxnSpPr>
          <p:cNvPr id="11" name="Straight Connector 10">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9" name="Title 4"/>
          <p:cNvSpPr>
            <a:spLocks noGrp="1"/>
          </p:cNvSpPr>
          <p:nvPr>
            <p:ph type="title" hasCustomPrompt="1"/>
          </p:nvPr>
        </p:nvSpPr>
        <p:spPr>
          <a:xfrm>
            <a:off x="609600" y="722172"/>
            <a:ext cx="109728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270770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7"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09600" y="2085629"/>
            <a:ext cx="10972800" cy="3718284"/>
          </a:xfrm>
        </p:spPr>
        <p:txBody>
          <a:bodyPr/>
          <a:lstStyle>
            <a:lvl1pPr>
              <a:lnSpc>
                <a:spcPct val="100000"/>
              </a:lnSpc>
              <a:spcBef>
                <a:spcPts val="0"/>
              </a:spcBef>
              <a:spcAft>
                <a:spcPts val="0"/>
              </a:spcAft>
              <a:buClr>
                <a:srgbClr val="1E7FB8"/>
              </a:buClr>
              <a:defRPr sz="1200">
                <a:solidFill>
                  <a:srgbClr val="575757"/>
                </a:solidFill>
                <a:latin typeface="+mn-lt"/>
                <a:ea typeface="+mn-ea"/>
                <a:cs typeface="+mn-cs"/>
                <a:sym typeface="+mn-lt"/>
              </a:defRPr>
            </a:lvl1pPr>
            <a:lvl2pPr>
              <a:lnSpc>
                <a:spcPct val="100000"/>
              </a:lnSpc>
              <a:spcBef>
                <a:spcPts val="0"/>
              </a:spcBef>
              <a:spcAft>
                <a:spcPts val="0"/>
              </a:spcAft>
              <a:buClr>
                <a:srgbClr val="1E7FB8"/>
              </a:buClr>
              <a:defRPr sz="1200">
                <a:solidFill>
                  <a:srgbClr val="575757"/>
                </a:solidFill>
                <a:latin typeface="+mn-lt"/>
                <a:ea typeface="+mn-ea"/>
                <a:cs typeface="+mn-cs"/>
                <a:sym typeface="+mn-lt"/>
              </a:defRPr>
            </a:lvl2pPr>
            <a:lvl3pPr>
              <a:lnSpc>
                <a:spcPct val="100000"/>
              </a:lnSpc>
              <a:spcBef>
                <a:spcPts val="0"/>
              </a:spcBef>
              <a:spcAft>
                <a:spcPts val="0"/>
              </a:spcAft>
              <a:buClr>
                <a:srgbClr val="1E7FB8"/>
              </a:buClr>
              <a:defRPr sz="1200">
                <a:solidFill>
                  <a:srgbClr val="575757"/>
                </a:solidFill>
                <a:latin typeface="+mn-lt"/>
                <a:ea typeface="+mn-ea"/>
                <a:cs typeface="+mn-cs"/>
                <a:sym typeface="+mn-lt"/>
              </a:defRPr>
            </a:lvl3pPr>
            <a:lvl4pPr marL="0" indent="0">
              <a:lnSpc>
                <a:spcPct val="100000"/>
              </a:lnSpc>
              <a:spcBef>
                <a:spcPts val="0"/>
              </a:spcBef>
              <a:spcAft>
                <a:spcPts val="0"/>
              </a:spcAft>
              <a:buClr>
                <a:srgbClr val="1E7FB8"/>
              </a:buClr>
              <a:buFontTx/>
              <a:buNone/>
              <a:defRPr sz="1600">
                <a:solidFill>
                  <a:schemeClr val="tx2"/>
                </a:solidFill>
                <a:latin typeface="+mn-lt"/>
                <a:ea typeface="+mn-ea"/>
                <a:cs typeface="+mn-cs"/>
                <a:sym typeface="+mn-lt"/>
              </a:defRPr>
            </a:lvl4pPr>
            <a:lvl5pPr marL="0" indent="0">
              <a:lnSpc>
                <a:spcPct val="100000"/>
              </a:lnSpc>
              <a:spcBef>
                <a:spcPts val="0"/>
              </a:spcBef>
              <a:spcAft>
                <a:spcPts val="0"/>
              </a:spcAft>
              <a:buClr>
                <a:srgbClr val="1E7FB8"/>
              </a:buClr>
              <a:buFontTx/>
              <a:buNone/>
              <a:defRPr sz="1600" b="1">
                <a:solidFill>
                  <a:srgbClr val="575757"/>
                </a:solidFill>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B7BEEE36-EBC5-45F7-B3DE-398CBD065D58}"/>
              </a:ext>
            </a:extLst>
          </p:cNvPr>
          <p:cNvSpPr>
            <a:spLocks/>
          </p:cNvSpPr>
          <p:nvPr userDrawn="1"/>
        </p:nvSpPr>
        <p:spPr bwMode="gray">
          <a:xfrm>
            <a:off x="0" y="0"/>
            <a:ext cx="12192000" cy="116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cxnSp>
        <p:nvCxnSpPr>
          <p:cNvPr id="10" name="Straight Connector 9">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8" name="Title 4"/>
          <p:cNvSpPr>
            <a:spLocks noGrp="1"/>
          </p:cNvSpPr>
          <p:nvPr>
            <p:ph type="title" hasCustomPrompt="1"/>
          </p:nvPr>
        </p:nvSpPr>
        <p:spPr>
          <a:xfrm>
            <a:off x="609600" y="722172"/>
            <a:ext cx="10972800"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1" i="0" u="none" kern="1200" spc="0">
                <a:solidFill>
                  <a:srgbClr val="FFFFFF"/>
                </a:solidFill>
                <a:latin typeface="+mj-lt"/>
                <a:ea typeface="+mj-ea"/>
                <a:cs typeface="+mj-cs"/>
                <a:sym typeface="+mj-lt"/>
              </a:defRPr>
            </a:lvl1pPr>
          </a:lstStyle>
          <a:p>
            <a:pPr lvl="0"/>
            <a:r>
              <a:rPr lang="en-US"/>
              <a:t>Click to add title</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54331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09600" y="2158987"/>
            <a:ext cx="37644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09600" y="1227048"/>
            <a:ext cx="37644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90812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09599" y="2668041"/>
            <a:ext cx="10972800"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E7FB8"/>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609600" y="1424081"/>
            <a:ext cx="951721" cy="951721"/>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41988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609600" y="3826800"/>
            <a:ext cx="10972800" cy="2041200"/>
          </a:xfrm>
        </p:spPr>
        <p:txBody>
          <a:bodyPr anchor="t">
            <a:noAutofit/>
          </a:bodyPr>
          <a:lstStyle>
            <a:lvl1pPr>
              <a:defRPr sz="5400">
                <a:solidFill>
                  <a:srgbClr val="1E7FB8"/>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09600" y="3680016"/>
            <a:ext cx="115789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60874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09600" y="2681103"/>
            <a:ext cx="31482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3" name="Picture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26801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29530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09600" y="722172"/>
            <a:ext cx="6296929" cy="332399"/>
          </a:xfrm>
          <a:prstGeom prst="rect">
            <a:avLst/>
          </a:prstGeom>
        </p:spPr>
        <p:txBody>
          <a:bodyPr anchor="t"/>
          <a:lstStyle>
            <a:lvl1pPr>
              <a:defRPr>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493015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09600" y="722172"/>
            <a:ext cx="8121984" cy="332399"/>
          </a:xfrm>
          <a:prstGeom prst="rect">
            <a:avLst/>
          </a:prstGeom>
        </p:spPr>
        <p:txBody>
          <a:bodyPr anchor="t"/>
          <a:lstStyle>
            <a:lvl1pPr>
              <a:defRPr>
                <a:latin typeface="+mj-lt"/>
                <a:ea typeface="+mj-ea"/>
                <a:cs typeface="+mj-cs"/>
                <a:sym typeface="+mj-lt"/>
              </a:defRPr>
            </a:lvl1pPr>
          </a:lstStyle>
          <a:p>
            <a:r>
              <a:rPr lang="en-US"/>
              <a:t>Click to add title</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879848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09600" y="2681103"/>
            <a:ext cx="31482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074423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09600" y="1785600"/>
            <a:ext cx="44088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8" name="Group 1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9" name="TextBox 1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0" name="Group 1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1" name="TextBox 2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2" name="TextBox 2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7" name="Picture 2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657839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rgbClr val="575757"/>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09600" y="1785600"/>
            <a:ext cx="6268888"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7" name="Group 1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8" name="TextBox 17">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9" name="Group 18">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0" name="TextBox 19">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1" name="TextBox 20">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2"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6" name="Picture 2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1256833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2"/>
          <p:cNvSpPr>
            <a:spLocks noGrp="1"/>
          </p:cNvSpPr>
          <p:nvPr>
            <p:ph type="title" hasCustomPrompt="1"/>
          </p:nvPr>
        </p:nvSpPr>
        <p:spPr>
          <a:xfrm>
            <a:off x="609600" y="2764203"/>
            <a:ext cx="24990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119411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5" name="Title 4"/>
          <p:cNvSpPr>
            <a:spLocks noGrp="1"/>
          </p:cNvSpPr>
          <p:nvPr>
            <p:ph type="title" hasCustomPrompt="1"/>
          </p:nvPr>
        </p:nvSpPr>
        <p:spPr>
          <a:xfrm>
            <a:off x="609600" y="2764203"/>
            <a:ext cx="24990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575593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1E7FB8"/>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534632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20" name="Title 1"/>
          <p:cNvSpPr>
            <a:spLocks noGrp="1"/>
          </p:cNvSpPr>
          <p:nvPr>
            <p:ph type="title" hasCustomPrompt="1"/>
          </p:nvPr>
        </p:nvSpPr>
        <p:spPr>
          <a:xfrm>
            <a:off x="609600" y="1785600"/>
            <a:ext cx="40826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1"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991685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09600" y="722172"/>
            <a:ext cx="4768222" cy="332399"/>
          </a:xfrm>
          <a:prstGeom prst="rect">
            <a:avLst/>
          </a:prstGeom>
        </p:spPr>
        <p:txBody>
          <a:bodyPr anchor="t"/>
          <a:lstStyle>
            <a:lvl1pPr>
              <a:defRPr>
                <a:latin typeface="+mj-lt"/>
                <a:ea typeface="+mj-ea"/>
                <a:cs typeface="+mj-cs"/>
                <a:sym typeface="+mj-lt"/>
              </a:defRPr>
            </a:lvl1pPr>
          </a:lstStyle>
          <a:p>
            <a:r>
              <a:rPr lang="en-US"/>
              <a:t>Click to add title</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47675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49234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2083129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609600" y="722172"/>
            <a:ext cx="4768222" cy="332399"/>
          </a:xfrm>
          <a:prstGeom prst="rect">
            <a:avLst/>
          </a:prstGeom>
        </p:spPr>
        <p:txBody>
          <a:bodyPr anchor="t"/>
          <a:lstStyle>
            <a:lvl1pPr>
              <a:defRPr>
                <a:solidFill>
                  <a:srgbClr val="FFFFFF"/>
                </a:solidFill>
                <a:latin typeface="+mj-lt"/>
                <a:ea typeface="+mj-ea"/>
                <a:cs typeface="+mj-cs"/>
                <a:sym typeface="+mj-lt"/>
              </a:defRPr>
            </a:lvl1pPr>
          </a:lstStyle>
          <a:p>
            <a:r>
              <a:rPr lang="en-US"/>
              <a:t>Click to add title</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6" name="TextBox 15">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744429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09600" y="722172"/>
            <a:ext cx="6274896" cy="332399"/>
          </a:xfrm>
          <a:prstGeom prst="rect">
            <a:avLst/>
          </a:prstGeom>
        </p:spPr>
        <p:txBody>
          <a:bodyPr anchor="t"/>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6" name="TextBox 15">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7" name="Group 16">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9" name="TextBox 18">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425966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1E7FB8"/>
              </a:gs>
              <a:gs pos="100000">
                <a:srgbClr val="165F8A"/>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2" name="Title 1"/>
          <p:cNvSpPr>
            <a:spLocks noGrp="1"/>
          </p:cNvSpPr>
          <p:nvPr>
            <p:ph type="title" hasCustomPrompt="1"/>
          </p:nvPr>
        </p:nvSpPr>
        <p:spPr>
          <a:xfrm>
            <a:off x="609600" y="722172"/>
            <a:ext cx="6274896" cy="332399"/>
          </a:xfrm>
          <a:prstGeom prst="rect">
            <a:avLst/>
          </a:prstGeom>
        </p:spPr>
        <p:txBody>
          <a:bodyPr anchor="t"/>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0"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4" name="Picture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564498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hasCustomPrompt="1"/>
          </p:nvPr>
        </p:nvSpPr>
        <p:spPr>
          <a:xfrm>
            <a:off x="609600" y="3826333"/>
            <a:ext cx="109728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6599334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5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Rectangle 5"/>
          <p:cNvSpPr/>
          <p:nvPr userDrawn="1"/>
        </p:nvSpPr>
        <p:spPr bwMode="white">
          <a:xfrm>
            <a:off x="609600" y="625475"/>
            <a:ext cx="932688" cy="932688"/>
          </a:xfrm>
          <a:prstGeom prst="rect">
            <a:avLst/>
          </a:prstGeom>
          <a:noFill/>
          <a:ln w="9525">
            <a:solidFill>
              <a:srgbClr val="1E7FB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09600" y="3826333"/>
            <a:ext cx="109728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E7FB8"/>
                </a:solidFill>
                <a:latin typeface="+mj-lt"/>
                <a:ea typeface="+mj-ea"/>
                <a:cs typeface="+mj-cs"/>
                <a:sym typeface="+mj-lt"/>
              </a:defRPr>
            </a:lvl1pPr>
          </a:lstStyle>
          <a:p>
            <a:r>
              <a:rPr lang="en-US"/>
              <a:t>Click to add big statement text</a:t>
            </a:r>
          </a:p>
        </p:txBody>
      </p:sp>
      <p:sp>
        <p:nvSpPr>
          <p:cNvPr id="9"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0" name="Group 9">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801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165F8A"/>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E7FB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8" name="Picture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965739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a:xfrm>
            <a:off x="609600" y="722172"/>
            <a:ext cx="10972800" cy="332399"/>
          </a:xfrm>
        </p:spPr>
        <p:txBody>
          <a:bodyPr anchor="t"/>
          <a:lstStyle>
            <a:lvl1pPr>
              <a:defRPr>
                <a:solidFill>
                  <a:schemeClr val="bg1"/>
                </a:solidFill>
                <a:latin typeface="+mj-lt"/>
                <a:ea typeface="+mj-ea"/>
                <a:cs typeface="+mj-cs"/>
                <a:sym typeface="+mj-lt"/>
              </a:defRPr>
            </a:lvl1pPr>
          </a:lstStyle>
          <a:p>
            <a:r>
              <a:rPr lang="en-US"/>
              <a:t>Click to add title</a:t>
            </a:r>
          </a:p>
        </p:txBody>
      </p:sp>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741320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703641"/>
            <a:ext cx="2819400" cy="151035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2"/>
                </a:solidFill>
                <a:latin typeface="+mn-lt"/>
                <a:ea typeface="+mn-ea"/>
                <a:cs typeface="+mn-cs"/>
                <a:sym typeface="+mn-lt"/>
              </a:rPr>
              <a:t>Table of contents</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2" name="Group 1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8" name="TextBox 17">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21" name="TextBox 20">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2"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5" name="Picture 2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8351405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12123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0" name="Group 9">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1" name="TextBox 10">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 name="TextBox 11">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102646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p:cNvSpPr>
            <a:spLocks noGrp="1"/>
          </p:cNvSpPr>
          <p:nvPr>
            <p:ph type="title"/>
          </p:nvPr>
        </p:nvSpPr>
        <p:spPr>
          <a:xfrm>
            <a:off x="630000" y="484301"/>
            <a:ext cx="4740576"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2609948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3" name="Group 1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4" name="TextBox 1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5" name="TextBox 1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6"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70931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675B5BE-1D22-4060-A1E8-A67668853E7F}"/>
              </a:ext>
            </a:extLst>
          </p:cNvPr>
          <p:cNvSpPr/>
          <p:nvPr userDrawn="1"/>
        </p:nvSpPr>
        <p:spPr bwMode="gray">
          <a:xfrm>
            <a:off x="2699656" y="870857"/>
            <a:ext cx="9492344" cy="4539343"/>
          </a:xfrm>
          <a:prstGeom prst="rect">
            <a:avLst/>
          </a:prstGeom>
          <a:solidFill>
            <a:srgbClr val="4BACC6">
              <a:lumMod val="20000"/>
              <a:lumOff val="80000"/>
            </a:srgbClr>
          </a:solidFill>
          <a:ln w="9525" cap="flat" cmpd="sng" algn="ctr">
            <a:noFill/>
            <a:prstDash val="solid"/>
          </a:ln>
          <a:effectLst/>
        </p:spPr>
        <p:txBody>
          <a:bodyPr rot="0" spcFirstLastPara="0" vertOverflow="overflow" horzOverflow="overflow" vert="horz" wrap="square" lIns="3108960" tIns="73152" rIns="73152" bIns="73152" numCol="1" spcCol="0" rtlCol="0" fromWordArt="0" anchor="ctr" anchorCtr="0" forceAA="0" compatLnSpc="1">
            <a:prstTxWarp prst="textNoShape">
              <a:avLst/>
            </a:prstTxWarp>
            <a:noAutofit/>
          </a:bodyPr>
          <a:lstStyle/>
          <a:p>
            <a:pPr marL="0" marR="0" lvl="0" indent="0" algn="l" defTabSz="913572" rtl="0" eaLnBrk="1" fontAlgn="base" latinLnBrk="0" hangingPunct="1">
              <a:lnSpc>
                <a:spcPct val="100000"/>
              </a:lnSpc>
              <a:spcBef>
                <a:spcPct val="0"/>
              </a:spcBef>
              <a:spcAft>
                <a:spcPct val="0"/>
              </a:spcAft>
              <a:buClr>
                <a:schemeClr val="tx2"/>
              </a:buClr>
              <a:buSzTx/>
              <a:buFontTx/>
              <a:buNone/>
              <a:tabLst>
                <a:tab pos="361950" algn="l"/>
              </a:tabLst>
              <a:defRPr/>
            </a:pPr>
            <a:r>
              <a:rPr lang="en-US" sz="5400" b="1" baseline="0" noProof="0">
                <a:solidFill>
                  <a:srgbClr val="3092D3"/>
                </a:solidFill>
                <a:latin typeface="+mj-lt"/>
                <a:ea typeface="+mj-ea"/>
                <a:cs typeface="+mj-cs"/>
              </a:rPr>
              <a:t>Thank you!</a:t>
            </a:r>
          </a:p>
        </p:txBody>
      </p:sp>
      <p:sp>
        <p:nvSpPr>
          <p:cNvPr id="11" name="Rectangle 10">
            <a:extLst>
              <a:ext uri="{FF2B5EF4-FFF2-40B4-BE49-F238E27FC236}">
                <a16:creationId xmlns:a16="http://schemas.microsoft.com/office/drawing/2014/main" id="{1F446AC8-9F05-47D8-967B-4948A7D620B6}"/>
              </a:ext>
            </a:extLst>
          </p:cNvPr>
          <p:cNvSpPr>
            <a:spLocks/>
          </p:cNvSpPr>
          <p:nvPr userDrawn="1"/>
        </p:nvSpPr>
        <p:spPr bwMode="gray">
          <a:xfrm>
            <a:off x="0" y="-27384"/>
            <a:ext cx="3556000" cy="5992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pSp>
        <p:nvGrpSpPr>
          <p:cNvPr id="12" name="Group 11">
            <a:extLst>
              <a:ext uri="{FF2B5EF4-FFF2-40B4-BE49-F238E27FC236}">
                <a16:creationId xmlns:a16="http://schemas.microsoft.com/office/drawing/2014/main" id="{E36C2570-EE6B-4565-AD75-B52E65403955}"/>
              </a:ext>
            </a:extLst>
          </p:cNvPr>
          <p:cNvGrpSpPr/>
          <p:nvPr userDrawn="1"/>
        </p:nvGrpSpPr>
        <p:grpSpPr bwMode="gray">
          <a:xfrm>
            <a:off x="9066230" y="6150623"/>
            <a:ext cx="2515543" cy="569706"/>
            <a:chOff x="5525840" y="3530278"/>
            <a:chExt cx="1886657" cy="569706"/>
          </a:xfrm>
        </p:grpSpPr>
        <p:sp>
          <p:nvSpPr>
            <p:cNvPr id="13" name="TextBox 12">
              <a:extLst>
                <a:ext uri="{FF2B5EF4-FFF2-40B4-BE49-F238E27FC236}">
                  <a16:creationId xmlns:a16="http://schemas.microsoft.com/office/drawing/2014/main" id="{577EC048-F3B9-4475-B855-081554A6C555}"/>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F2AC1C6A-A970-442F-8AA9-F0118482BF7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A8830331-61EC-45A0-BC05-93F4169FC707}"/>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7" name="TextBox 16">
                <a:extLst>
                  <a:ext uri="{FF2B5EF4-FFF2-40B4-BE49-F238E27FC236}">
                    <a16:creationId xmlns:a16="http://schemas.microsoft.com/office/drawing/2014/main" id="{FB75CD6E-20E4-40B1-A7A3-D05DC8E9E321}"/>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599" y="6108272"/>
            <a:ext cx="2070072" cy="633097"/>
          </a:xfrm>
          <a:prstGeom prst="rect">
            <a:avLst/>
          </a:prstGeom>
        </p:spPr>
      </p:pic>
      <p:sp>
        <p:nvSpPr>
          <p:cNvPr id="19" name="Rectangle 18">
            <a:extLst>
              <a:ext uri="{FF2B5EF4-FFF2-40B4-BE49-F238E27FC236}">
                <a16:creationId xmlns:a16="http://schemas.microsoft.com/office/drawing/2014/main" id="{84A738D0-C560-4C29-94CE-95B6221F6386}"/>
              </a:ext>
            </a:extLst>
          </p:cNvPr>
          <p:cNvSpPr/>
          <p:nvPr userDrawn="1"/>
        </p:nvSpPr>
        <p:spPr bwMode="gray">
          <a:xfrm>
            <a:off x="2699656" y="870857"/>
            <a:ext cx="856344" cy="453934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US" sz="1600">
              <a:solidFill>
                <a:schemeClr val="tx1"/>
              </a:solidFill>
            </a:endParaRPr>
          </a:p>
        </p:txBody>
      </p:sp>
    </p:spTree>
    <p:extLst>
      <p:ext uri="{BB962C8B-B14F-4D97-AF65-F5344CB8AC3E}">
        <p14:creationId xmlns:p14="http://schemas.microsoft.com/office/powerpoint/2010/main" val="4052043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grpSp>
          <p:nvGrpSpPr>
            <p:cNvPr id="50" name="Group 49"/>
            <p:cNvGrpSpPr/>
            <p:nvPr/>
          </p:nvGrpSpPr>
          <p:grpSpPr>
            <a:xfrm>
              <a:off x="629400" y="623550"/>
              <a:ext cx="10933200" cy="4953237"/>
              <a:chOff x="629400" y="623550"/>
              <a:chExt cx="10933200" cy="5537047"/>
            </a:xfrm>
          </p:grpSpPr>
          <p:sp>
            <p:nvSpPr>
              <p:cNvPr id="78" name="Rectangle 34"/>
              <p:cNvSpPr>
                <a:spLocks noChangeArrowheads="1"/>
              </p:cNvSpPr>
              <p:nvPr/>
            </p:nvSpPr>
            <p:spPr bwMode="auto">
              <a:xfrm>
                <a:off x="688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35"/>
              <p:cNvSpPr>
                <a:spLocks noChangeArrowheads="1"/>
              </p:cNvSpPr>
              <p:nvPr/>
            </p:nvSpPr>
            <p:spPr bwMode="auto">
              <a:xfrm>
                <a:off x="875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36"/>
              <p:cNvSpPr>
                <a:spLocks noChangeArrowheads="1"/>
              </p:cNvSpPr>
              <p:nvPr/>
            </p:nvSpPr>
            <p:spPr bwMode="auto">
              <a:xfrm>
                <a:off x="782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37"/>
              <p:cNvSpPr>
                <a:spLocks noChangeArrowheads="1"/>
              </p:cNvSpPr>
              <p:nvPr/>
            </p:nvSpPr>
            <p:spPr bwMode="auto">
              <a:xfrm>
                <a:off x="969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38"/>
              <p:cNvSpPr>
                <a:spLocks noChangeArrowheads="1"/>
              </p:cNvSpPr>
              <p:nvPr/>
            </p:nvSpPr>
            <p:spPr bwMode="auto">
              <a:xfrm>
                <a:off x="1062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39"/>
              <p:cNvSpPr>
                <a:spLocks noChangeArrowheads="1"/>
              </p:cNvSpPr>
              <p:nvPr/>
            </p:nvSpPr>
            <p:spPr bwMode="auto">
              <a:xfrm>
                <a:off x="595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40"/>
              <p:cNvSpPr>
                <a:spLocks noChangeArrowheads="1"/>
              </p:cNvSpPr>
              <p:nvPr/>
            </p:nvSpPr>
            <p:spPr bwMode="auto">
              <a:xfrm>
                <a:off x="127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41"/>
              <p:cNvSpPr>
                <a:spLocks noChangeArrowheads="1"/>
              </p:cNvSpPr>
              <p:nvPr/>
            </p:nvSpPr>
            <p:spPr bwMode="auto">
              <a:xfrm>
                <a:off x="221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42"/>
              <p:cNvSpPr>
                <a:spLocks noChangeArrowheads="1"/>
              </p:cNvSpPr>
              <p:nvPr/>
            </p:nvSpPr>
            <p:spPr bwMode="auto">
              <a:xfrm>
                <a:off x="314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43"/>
              <p:cNvSpPr>
                <a:spLocks noChangeArrowheads="1"/>
              </p:cNvSpPr>
              <p:nvPr/>
            </p:nvSpPr>
            <p:spPr bwMode="auto">
              <a:xfrm>
                <a:off x="4082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44"/>
              <p:cNvSpPr>
                <a:spLocks noChangeArrowheads="1"/>
              </p:cNvSpPr>
              <p:nvPr/>
            </p:nvSpPr>
            <p:spPr bwMode="auto">
              <a:xfrm>
                <a:off x="5017000" y="623550"/>
                <a:ext cx="288000" cy="5537047"/>
              </a:xfrm>
              <a:prstGeom prst="rect">
                <a:avLst/>
              </a:prstGeom>
              <a:solidFill>
                <a:srgbClr val="8395AC">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5"/>
              <p:cNvSpPr>
                <a:spLocks noChangeArrowheads="1"/>
              </p:cNvSpPr>
              <p:nvPr/>
            </p:nvSpPr>
            <p:spPr bwMode="auto">
              <a:xfrm>
                <a:off x="2880128" y="5975122"/>
                <a:ext cx="1930288"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7"/>
              <p:cNvSpPr>
                <a:spLocks noChangeArrowheads="1"/>
              </p:cNvSpPr>
              <p:nvPr/>
            </p:nvSpPr>
            <p:spPr bwMode="auto">
              <a:xfrm>
                <a:off x="9626194"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9"/>
              <p:cNvSpPr>
                <a:spLocks noChangeArrowheads="1"/>
              </p:cNvSpPr>
              <p:nvPr/>
            </p:nvSpPr>
            <p:spPr bwMode="auto">
              <a:xfrm>
                <a:off x="7372407" y="5975122"/>
                <a:ext cx="1936406"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11"/>
              <p:cNvSpPr>
                <a:spLocks noChangeArrowheads="1"/>
              </p:cNvSpPr>
              <p:nvPr/>
            </p:nvSpPr>
            <p:spPr bwMode="auto">
              <a:xfrm>
                <a:off x="5127797" y="5975122"/>
                <a:ext cx="1927229"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13"/>
              <p:cNvSpPr>
                <a:spLocks noChangeArrowheads="1"/>
              </p:cNvSpPr>
              <p:nvPr/>
            </p:nvSpPr>
            <p:spPr bwMode="auto">
              <a:xfrm>
                <a:off x="629400" y="5975122"/>
                <a:ext cx="1933347" cy="79536"/>
              </a:xfrm>
              <a:prstGeom prst="rect">
                <a:avLst/>
              </a:prstGeom>
              <a:solidFill>
                <a:srgbClr val="8395AC">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1" name="Freeform 50"/>
            <p:cNvSpPr/>
            <p:nvPr/>
          </p:nvSpPr>
          <p:spPr>
            <a:xfrm>
              <a:off x="0" y="-1"/>
              <a:ext cx="12193200" cy="6858000"/>
            </a:xfrm>
            <a:custGeom>
              <a:avLst/>
              <a:gdLst>
                <a:gd name="connsiteX0" fmla="*/ 630001 w 12193200"/>
                <a:gd name="connsiteY0" fmla="*/ 622800 h 6858000"/>
                <a:gd name="connsiteX1" fmla="*/ 630001 w 12193200"/>
                <a:gd name="connsiteY1" fmla="*/ 623551 h 6858000"/>
                <a:gd name="connsiteX2" fmla="*/ 609599 w 12193200"/>
                <a:gd name="connsiteY2" fmla="*/ 623551 h 6858000"/>
                <a:gd name="connsiteX3" fmla="*/ 609599 w 12193200"/>
                <a:gd name="connsiteY3" fmla="*/ 5576788 h 6858000"/>
                <a:gd name="connsiteX4" fmla="*/ 630001 w 12193200"/>
                <a:gd name="connsiteY4" fmla="*/ 5576788 h 6858000"/>
                <a:gd name="connsiteX5" fmla="*/ 630001 w 12193200"/>
                <a:gd name="connsiteY5" fmla="*/ 6160597 h 6858000"/>
                <a:gd name="connsiteX6" fmla="*/ 11562000 w 12193200"/>
                <a:gd name="connsiteY6" fmla="*/ 6160597 h 6858000"/>
                <a:gd name="connsiteX7" fmla="*/ 11562000 w 12193200"/>
                <a:gd name="connsiteY7" fmla="*/ 622800 h 6858000"/>
                <a:gd name="connsiteX8" fmla="*/ 0 w 12193200"/>
                <a:gd name="connsiteY8" fmla="*/ 0 h 6858000"/>
                <a:gd name="connsiteX9" fmla="*/ 12193200 w 12193200"/>
                <a:gd name="connsiteY9" fmla="*/ 0 h 6858000"/>
                <a:gd name="connsiteX10" fmla="*/ 12193200 w 12193200"/>
                <a:gd name="connsiteY10" fmla="*/ 622800 h 6858000"/>
                <a:gd name="connsiteX11" fmla="*/ 12192000 w 12193200"/>
                <a:gd name="connsiteY11" fmla="*/ 622800 h 6858000"/>
                <a:gd name="connsiteX12" fmla="*/ 12192000 w 12193200"/>
                <a:gd name="connsiteY12" fmla="*/ 6160597 h 6858000"/>
                <a:gd name="connsiteX13" fmla="*/ 12193200 w 12193200"/>
                <a:gd name="connsiteY13" fmla="*/ 6160597 h 6858000"/>
                <a:gd name="connsiteX14" fmla="*/ 12193200 w 12193200"/>
                <a:gd name="connsiteY14" fmla="*/ 6858000 h 6858000"/>
                <a:gd name="connsiteX15" fmla="*/ 12192000 w 12193200"/>
                <a:gd name="connsiteY15" fmla="*/ 6858000 h 6858000"/>
                <a:gd name="connsiteX16" fmla="*/ 11562000 w 12193200"/>
                <a:gd name="connsiteY16" fmla="*/ 6858000 h 6858000"/>
                <a:gd name="connsiteX17" fmla="*/ 630001 w 12193200"/>
                <a:gd name="connsiteY17" fmla="*/ 6858000 h 6858000"/>
                <a:gd name="connsiteX18" fmla="*/ 1 w 12193200"/>
                <a:gd name="connsiteY18" fmla="*/ 6858000 h 6858000"/>
                <a:gd name="connsiteX19" fmla="*/ 1 w 12193200"/>
                <a:gd name="connsiteY19" fmla="*/ 6160597 h 6858000"/>
                <a:gd name="connsiteX20" fmla="*/ 1 w 12193200"/>
                <a:gd name="connsiteY20" fmla="*/ 622800 h 6858000"/>
                <a:gd name="connsiteX21" fmla="*/ 0 w 12193200"/>
                <a:gd name="connsiteY21"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3200" h="6858000">
                  <a:moveTo>
                    <a:pt x="630001" y="622800"/>
                  </a:moveTo>
                  <a:lnTo>
                    <a:pt x="630001" y="623551"/>
                  </a:lnTo>
                  <a:lnTo>
                    <a:pt x="609599" y="623551"/>
                  </a:lnTo>
                  <a:lnTo>
                    <a:pt x="609599" y="5576788"/>
                  </a:lnTo>
                  <a:lnTo>
                    <a:pt x="630001" y="5576788"/>
                  </a:ln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71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grpSp>
          <p:nvGrpSpPr>
            <p:cNvPr id="52" name="Group 51"/>
            <p:cNvGrpSpPr/>
            <p:nvPr/>
          </p:nvGrpSpPr>
          <p:grpSpPr>
            <a:xfrm>
              <a:off x="-600" y="0"/>
              <a:ext cx="12193200" cy="6858000"/>
              <a:chOff x="-600" y="0"/>
              <a:chExt cx="12193200" cy="6858000"/>
            </a:xfrm>
          </p:grpSpPr>
          <p:grpSp>
            <p:nvGrpSpPr>
              <p:cNvPr id="53" name="Group 52"/>
              <p:cNvGrpSpPr/>
              <p:nvPr/>
            </p:nvGrpSpPr>
            <p:grpSpPr>
              <a:xfrm>
                <a:off x="-600" y="622800"/>
                <a:ext cx="12193200" cy="4953987"/>
                <a:chOff x="-600" y="622800"/>
                <a:chExt cx="12193200" cy="4953987"/>
              </a:xfrm>
            </p:grpSpPr>
            <p:cxnSp>
              <p:nvCxnSpPr>
                <p:cNvPr id="60" name="Straight Connector 59"/>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00" y="95284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a:off x="-600" y="0"/>
                <a:ext cx="12193200" cy="6858000"/>
                <a:chOff x="-600" y="0"/>
                <a:chExt cx="12193200" cy="6858000"/>
              </a:xfrm>
            </p:grpSpPr>
            <p:sp>
              <p:nvSpPr>
                <p:cNvPr id="55"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395A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56" name="Footnote measure"/>
                <p:cNvSpPr>
                  <a:spLocks noChangeArrowheads="1"/>
                </p:cNvSpPr>
                <p:nvPr/>
              </p:nvSpPr>
              <p:spPr bwMode="auto">
                <a:xfrm>
                  <a:off x="609599" y="5575247"/>
                  <a:ext cx="10953001" cy="962937"/>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Whitespace measure"/>
                <p:cNvSpPr>
                  <a:spLocks noChangeArrowheads="1"/>
                </p:cNvSpPr>
                <p:nvPr/>
              </p:nvSpPr>
              <p:spPr bwMode="auto">
                <a:xfrm>
                  <a:off x="609599" y="1497600"/>
                  <a:ext cx="10953001" cy="583200"/>
                </a:xfrm>
                <a:prstGeom prst="rect">
                  <a:avLst/>
                </a:prstGeom>
                <a:solidFill>
                  <a:srgbClr val="A1CD3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Live area"/>
                <p:cNvSpPr/>
                <p:nvPr/>
              </p:nvSpPr>
              <p:spPr>
                <a:xfrm>
                  <a:off x="609599" y="2080801"/>
                  <a:ext cx="10953001" cy="349598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C00000">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59" name="Footnote example"/>
                <p:cNvSpPr txBox="1"/>
                <p:nvPr/>
              </p:nvSpPr>
              <p:spPr>
                <a:xfrm>
                  <a:off x="609599" y="5575247"/>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List footnotes in numerical order. Footnote numbers are not bracketed. Use 10pt font</a:t>
                  </a:r>
                </a:p>
                <a:p>
                  <a:pPr lvl="0">
                    <a:lnSpc>
                      <a:spcPct val="90000"/>
                    </a:lnSpc>
                    <a:defRPr/>
                  </a:pPr>
                  <a:r>
                    <a:rPr lang="en-US" sz="1000">
                      <a:solidFill>
                        <a:prstClr val="white">
                          <a:lumMod val="65000"/>
                        </a:prstClr>
                      </a:solidFill>
                      <a:sym typeface="Trebuchet MS" panose="020B0603020202020204" pitchFamily="34" charset="0"/>
                    </a:rPr>
                    <a:t>Note: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grpSp>
      </p:grpSp>
    </p:spTree>
    <p:extLst>
      <p:ext uri="{BB962C8B-B14F-4D97-AF65-F5344CB8AC3E}">
        <p14:creationId xmlns:p14="http://schemas.microsoft.com/office/powerpoint/2010/main" val="3191155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51860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sym typeface="+mn-lt"/>
              </a:rPr>
              <a:t>Agenda</a:t>
            </a:r>
          </a:p>
        </p:txBody>
      </p:sp>
      <p:sp>
        <p:nvSpPr>
          <p:cNvPr id="13"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4" name="Group 13">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5" name="TextBox 14">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6" name="Group 15">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7" name="TextBox 16">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8" name="TextBox 17">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9"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1" name="Picture 2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828134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8190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92496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5550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19" name="Picture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7439973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0938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sym typeface="+mn-lt"/>
              </a:rPr>
              <a:t>Agenda</a:t>
            </a:r>
          </a:p>
        </p:txBody>
      </p:sp>
      <p:sp>
        <p:nvSpPr>
          <p:cNvPr id="21"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22" name="Group 21">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23" name="TextBox 22">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24" name="Group 2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25" name="TextBox 2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26" name="TextBox 2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7"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9" name="Picture 2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95751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87894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1E7FB8"/>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rgbClr val="1E7FB8"/>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1E7FB8"/>
                </a:solidFill>
                <a:latin typeface="+mn-lt"/>
                <a:ea typeface="+mn-ea"/>
                <a:cs typeface="+mn-cs"/>
                <a:sym typeface="+mn-lt"/>
              </a:rPr>
              <a:t>Agenda</a:t>
            </a:r>
          </a:p>
        </p:txBody>
      </p:sp>
      <p:sp>
        <p:nvSpPr>
          <p:cNvPr id="12"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13" name="Group 12">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4" name="TextBox 13">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5" name="Group 14">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6" name="TextBox 15">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7" name="TextBox 16">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8"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004041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25418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1E7FB8"/>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7" name="Group 6">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9" name="TextBox 8">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3213619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37638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1E7FB8"/>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1E7FB8"/>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8" name="Group 7">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0" name="TextBox 9">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1" name="Group 10">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 name="TextBox 11">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3" name="TextBox 12">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4"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6" name="Picture 1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122409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630000" y="484301"/>
            <a:ext cx="6904656"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3891301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7068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sym typeface="+mn-lt"/>
              </a:rPr>
              <a:t>Agenda</a:t>
            </a:r>
          </a:p>
        </p:txBody>
      </p:sp>
      <p:sp>
        <p:nvSpPr>
          <p:cNvPr id="8"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grpSp>
        <p:nvGrpSpPr>
          <p:cNvPr id="9" name="Group 8">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1" name="TextBox 10">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 name="Group 11">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3" name="TextBox 12">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4" name="TextBox 13">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5"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7" name="Picture 16"/>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4235296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1E7FB8"/>
            </a:gs>
            <a:gs pos="100000">
              <a:srgbClr val="165F8A"/>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2445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703641"/>
            <a:ext cx="2819400" cy="151035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2"/>
                </a:solidFill>
                <a:latin typeface="+mn-lt"/>
                <a:ea typeface="+mn-ea"/>
                <a:cs typeface="+mn-cs"/>
                <a:sym typeface="+mn-lt"/>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bg1"/>
                </a:solidFill>
              </a:rPr>
              <a:pPr algn="r"/>
              <a:t>‹#›</a:t>
            </a:fld>
            <a:endParaRPr lang="en-US" sz="1000">
              <a:solidFill>
                <a:schemeClr val="bg1"/>
              </a:solidFill>
            </a:endParaRPr>
          </a:p>
        </p:txBody>
      </p:sp>
      <p:grpSp>
        <p:nvGrpSpPr>
          <p:cNvPr id="11" name="Group 1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 name="TextBox 1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chemeClr val="bg1"/>
                  </a:solidFill>
                  <a:latin typeface="Corbel" panose="020B0503020204020204" pitchFamily="34" charset="0"/>
                  <a:cs typeface="+mn-cs"/>
                </a:rPr>
                <a:t>Health</a:t>
              </a:r>
            </a:p>
          </p:txBody>
        </p:sp>
        <p:grpSp>
          <p:nvGrpSpPr>
            <p:cNvPr id="14" name="Group 13">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5" name="TextBox 14">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chemeClr val="bg1"/>
                    </a:solidFill>
                    <a:latin typeface="Corbel" panose="020B0503020204020204" pitchFamily="34" charset="0"/>
                    <a:cs typeface="+mn-cs"/>
                  </a:rPr>
                  <a:t>programme</a:t>
                </a:r>
              </a:p>
            </p:txBody>
          </p:sp>
          <p:sp>
            <p:nvSpPr>
              <p:cNvPr id="16" name="TextBox 15">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chemeClr val="bg1"/>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8" name="Copyright" hidden="1"/>
          <p:cNvSpPr txBox="1"/>
          <p:nvPr userDrawn="1"/>
        </p:nvSpPr>
        <p:spPr>
          <a:xfrm rot="16200000">
            <a:off x="9486900" y="318755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pic>
        <p:nvPicPr>
          <p:cNvPr id="22" name="Picture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00" y="6108272"/>
            <a:ext cx="2070072" cy="633097"/>
          </a:xfrm>
          <a:prstGeom prst="rect">
            <a:avLst/>
          </a:prstGeom>
        </p:spPr>
      </p:pic>
    </p:spTree>
    <p:extLst>
      <p:ext uri="{BB962C8B-B14F-4D97-AF65-F5344CB8AC3E}">
        <p14:creationId xmlns:p14="http://schemas.microsoft.com/office/powerpoint/2010/main" val="28413150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p:cNvSpPr>
            <a:spLocks noGrp="1"/>
          </p:cNvSpPr>
          <p:nvPr>
            <p:ph type="title"/>
          </p:nvPr>
        </p:nvSpPr>
        <p:spPr>
          <a:xfrm>
            <a:off x="630000" y="484301"/>
            <a:ext cx="6953424" cy="941796"/>
          </a:xfrm>
        </p:spPr>
        <p:txBody>
          <a:bodyPr anchor="t"/>
          <a:lstStyle>
            <a:lvl1pPr>
              <a:defRPr sz="3400">
                <a:solidFill>
                  <a:srgbClr val="FFFFFF"/>
                </a:solidFill>
              </a:defRPr>
            </a:lvl1pPr>
          </a:lstStyle>
          <a:p>
            <a:r>
              <a:rPr lang="en-US"/>
              <a:t>Click to edit Master title style</a:t>
            </a:r>
          </a:p>
        </p:txBody>
      </p:sp>
    </p:spTree>
    <p:extLst>
      <p:ext uri="{BB962C8B-B14F-4D97-AF65-F5344CB8AC3E}">
        <p14:creationId xmlns:p14="http://schemas.microsoft.com/office/powerpoint/2010/main" val="37563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439962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mpty Slide">
    <p:bg>
      <p:bgRef idx="1001">
        <a:schemeClr val="bg1"/>
      </p:bgRef>
    </p:bg>
    <p:spTree>
      <p:nvGrpSpPr>
        <p:cNvPr id="1" name=""/>
        <p:cNvGrpSpPr/>
        <p:nvPr/>
      </p:nvGrpSpPr>
      <p:grpSpPr>
        <a:xfrm>
          <a:off x="0" y="0"/>
          <a:ext cx="0" cy="0"/>
          <a:chOff x="0" y="0"/>
          <a:chExt cx="0" cy="0"/>
        </a:xfrm>
      </p:grpSpPr>
      <p:sp>
        <p:nvSpPr>
          <p:cNvPr id="5" name="Текст 9"/>
          <p:cNvSpPr>
            <a:spLocks noGrp="1"/>
          </p:cNvSpPr>
          <p:nvPr>
            <p:ph type="body" sz="quarter" idx="10" hasCustomPrompt="1"/>
          </p:nvPr>
        </p:nvSpPr>
        <p:spPr>
          <a:xfrm>
            <a:off x="320703" y="1441832"/>
            <a:ext cx="11550594" cy="366425"/>
          </a:xfrm>
          <a:prstGeom prst="rect">
            <a:avLst/>
          </a:prstGeom>
        </p:spPr>
        <p:txBody>
          <a:bodyPr/>
          <a:lstStyle>
            <a:lvl1pPr marL="0" indent="0">
              <a:buNone/>
              <a:defRPr sz="2400" baseline="0">
                <a:latin typeface="+mj-lt"/>
              </a:defRPr>
            </a:lvl1pPr>
          </a:lstStyle>
          <a:p>
            <a:r>
              <a:rPr lang="uk-UA">
                <a:solidFill>
                  <a:srgbClr val="004188"/>
                </a:solidFill>
                <a:latin typeface="+mj-lt"/>
              </a:rPr>
              <a:t>Заголовок слайда</a:t>
            </a:r>
            <a:endParaRPr lang="nl-NL">
              <a:solidFill>
                <a:srgbClr val="004188"/>
              </a:solidFill>
              <a:latin typeface="+mj-lt"/>
            </a:endParaRPr>
          </a:p>
        </p:txBody>
      </p:sp>
      <p:pic>
        <p:nvPicPr>
          <p:cNvPr id="3" name="Рисунок 2">
            <a:extLst>
              <a:ext uri="{FF2B5EF4-FFF2-40B4-BE49-F238E27FC236}">
                <a16:creationId xmlns:a16="http://schemas.microsoft.com/office/drawing/2014/main" id="{A22D5E18-AEDB-4AF4-B1B5-E5EA77CC3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703" y="353550"/>
            <a:ext cx="1590675" cy="714375"/>
          </a:xfrm>
          <a:prstGeom prst="rect">
            <a:avLst/>
          </a:prstGeom>
        </p:spPr>
      </p:pic>
    </p:spTree>
    <p:extLst>
      <p:ext uri="{BB962C8B-B14F-4D97-AF65-F5344CB8AC3E}">
        <p14:creationId xmlns:p14="http://schemas.microsoft.com/office/powerpoint/2010/main" val="239057336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67125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370655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484301"/>
            <a:ext cx="10933350" cy="941796"/>
          </a:xfrm>
        </p:spPr>
        <p:txBody>
          <a:bodyPr anchor="t"/>
          <a:lstStyle>
            <a:lvl1pPr>
              <a:defRPr sz="3400" b="0">
                <a:solidFill>
                  <a:srgbClr val="FFFFFF"/>
                </a:solidFill>
              </a:defRPr>
            </a:lvl1pPr>
          </a:lstStyle>
          <a:p>
            <a:r>
              <a:rPr lang="en-US"/>
              <a:t>Click to edit Master title style</a:t>
            </a:r>
          </a:p>
        </p:txBody>
      </p:sp>
    </p:spTree>
    <p:extLst>
      <p:ext uri="{BB962C8B-B14F-4D97-AF65-F5344CB8AC3E}">
        <p14:creationId xmlns:p14="http://schemas.microsoft.com/office/powerpoint/2010/main" val="1899005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77065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595536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5"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04718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8"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9" name="Group 18"/>
          <p:cNvGrpSpPr/>
          <p:nvPr/>
        </p:nvGrpSpPr>
        <p:grpSpPr>
          <a:xfrm>
            <a:off x="5012098" y="292077"/>
            <a:ext cx="2127716" cy="2280707"/>
            <a:chOff x="5012098" y="292077"/>
            <a:chExt cx="2127716" cy="2280707"/>
          </a:xfrm>
        </p:grpSpPr>
        <p:pic>
          <p:nvPicPr>
            <p:cNvPr id="2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1729607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5782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7" name="Rectangle 16"/>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9"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8"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29" name="Group 28"/>
          <p:cNvGrpSpPr/>
          <p:nvPr/>
        </p:nvGrpSpPr>
        <p:grpSpPr>
          <a:xfrm>
            <a:off x="5012098" y="292077"/>
            <a:ext cx="2127716" cy="2280707"/>
            <a:chOff x="5012098" y="292077"/>
            <a:chExt cx="2127716" cy="2280707"/>
          </a:xfrm>
        </p:grpSpPr>
        <p:pic>
          <p:nvPicPr>
            <p:cNvPr id="30"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31"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3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2801490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3"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4" name="Title 3"/>
          <p:cNvSpPr>
            <a:spLocks noGrp="1"/>
          </p:cNvSpPr>
          <p:nvPr>
            <p:ph type="title"/>
          </p:nvPr>
        </p:nvSpPr>
        <p:spPr>
          <a:xfrm>
            <a:off x="1672683" y="622800"/>
            <a:ext cx="9902282" cy="664797"/>
          </a:xfrm>
        </p:spPr>
        <p:txBody>
          <a:bodyPr anchor="t"/>
          <a:lstStyle/>
          <a:p>
            <a:r>
              <a:rPr lang="en-US"/>
              <a:t>Click to edit Master title style</a:t>
            </a:r>
          </a:p>
        </p:txBody>
      </p:sp>
    </p:spTree>
    <p:extLst>
      <p:ext uri="{BB962C8B-B14F-4D97-AF65-F5344CB8AC3E}">
        <p14:creationId xmlns:p14="http://schemas.microsoft.com/office/powerpoint/2010/main" val="3634206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nts usage example">
    <p:spTree>
      <p:nvGrpSpPr>
        <p:cNvPr id="1" name=""/>
        <p:cNvGrpSpPr/>
        <p:nvPr/>
      </p:nvGrpSpPr>
      <p:grpSpPr>
        <a:xfrm>
          <a:off x="0" y="0"/>
          <a:ext cx="0" cy="0"/>
          <a:chOff x="0" y="0"/>
          <a:chExt cx="0" cy="0"/>
        </a:xfrm>
      </p:grpSpPr>
      <p:sp>
        <p:nvSpPr>
          <p:cNvPr id="5" name="Текст 9"/>
          <p:cNvSpPr>
            <a:spLocks noGrp="1"/>
          </p:cNvSpPr>
          <p:nvPr>
            <p:ph type="body" sz="quarter" idx="10" hasCustomPrompt="1"/>
          </p:nvPr>
        </p:nvSpPr>
        <p:spPr>
          <a:xfrm>
            <a:off x="320703" y="1441832"/>
            <a:ext cx="11550594" cy="366425"/>
          </a:xfrm>
          <a:prstGeom prst="rect">
            <a:avLst/>
          </a:prstGeom>
        </p:spPr>
        <p:txBody>
          <a:bodyPr/>
          <a:lstStyle>
            <a:lvl1pPr marL="0" indent="0">
              <a:buNone/>
              <a:defRPr sz="2400" baseline="0">
                <a:latin typeface="+mj-lt"/>
              </a:defRPr>
            </a:lvl1pPr>
          </a:lstStyle>
          <a:p>
            <a:r>
              <a:rPr lang="uk-UA">
                <a:solidFill>
                  <a:srgbClr val="004188"/>
                </a:solidFill>
                <a:latin typeface="+mj-lt"/>
              </a:rPr>
              <a:t>Приклад використання шрифтів </a:t>
            </a:r>
            <a:endParaRPr lang="nl-NL">
              <a:solidFill>
                <a:srgbClr val="004188"/>
              </a:solidFill>
              <a:latin typeface="+mj-lt"/>
            </a:endParaRPr>
          </a:p>
        </p:txBody>
      </p:sp>
      <p:sp>
        <p:nvSpPr>
          <p:cNvPr id="8" name="Текст 6"/>
          <p:cNvSpPr>
            <a:spLocks noGrp="1"/>
          </p:cNvSpPr>
          <p:nvPr>
            <p:ph type="body" sz="quarter" idx="12" hasCustomPrompt="1"/>
          </p:nvPr>
        </p:nvSpPr>
        <p:spPr>
          <a:xfrm>
            <a:off x="2017343" y="3272071"/>
            <a:ext cx="3331992" cy="378896"/>
          </a:xfrm>
          <a:prstGeom prst="rect">
            <a:avLst/>
          </a:prstGeom>
        </p:spPr>
        <p:txBody>
          <a:bodyPr/>
          <a:lstStyle>
            <a:lvl1pPr marL="0" indent="0">
              <a:buNone/>
              <a:defRPr lang="en-US" sz="2000" dirty="0" smtClean="0">
                <a:latin typeface="Museo Sans Cyrl 700" panose="02000000000000000000" pitchFamily="50" charset="-52"/>
              </a:defRPr>
            </a:lvl1pPr>
            <a:lvl2pPr marL="457200" indent="0">
              <a:buNone/>
              <a:defRPr/>
            </a:lvl2pPr>
          </a:lstStyle>
          <a:p>
            <a:pPr lvl="0"/>
            <a:r>
              <a:rPr lang="en-US" err="1"/>
              <a:t>Museo</a:t>
            </a:r>
            <a:r>
              <a:rPr lang="en-US"/>
              <a:t> Sans </a:t>
            </a:r>
            <a:r>
              <a:rPr lang="en-US" err="1"/>
              <a:t>Cyrl</a:t>
            </a:r>
            <a:r>
              <a:rPr lang="en-US"/>
              <a:t> 700</a:t>
            </a:r>
          </a:p>
        </p:txBody>
      </p:sp>
      <p:sp>
        <p:nvSpPr>
          <p:cNvPr id="9" name="Текст 6"/>
          <p:cNvSpPr>
            <a:spLocks noGrp="1"/>
          </p:cNvSpPr>
          <p:nvPr>
            <p:ph type="body" sz="quarter" idx="13" hasCustomPrompt="1"/>
          </p:nvPr>
        </p:nvSpPr>
        <p:spPr>
          <a:xfrm>
            <a:off x="2017343" y="3747647"/>
            <a:ext cx="3331992" cy="2223945"/>
          </a:xfrm>
          <a:prstGeom prst="rect">
            <a:avLst/>
          </a:prstGeom>
        </p:spPr>
        <p:txBody>
          <a:bodyPr/>
          <a:lstStyle>
            <a:lvl1pPr marL="0" indent="0">
              <a:buNone/>
              <a:defRPr lang="en-US" sz="1400" dirty="0" smtClean="0">
                <a:latin typeface="Museo Sans Cyrl 300" panose="02000000000000000000" pitchFamily="50" charset="-52"/>
              </a:defRPr>
            </a:lvl1pPr>
            <a:lvl2pPr marL="457200" indent="0">
              <a:buNone/>
              <a:defRPr/>
            </a:lvl2pPr>
          </a:lstStyle>
          <a:p>
            <a:pPr lvl="0"/>
            <a:r>
              <a:rPr lang="en-US" err="1"/>
              <a:t>Museo</a:t>
            </a:r>
            <a:r>
              <a:rPr lang="en-US"/>
              <a:t> Sans </a:t>
            </a:r>
            <a:r>
              <a:rPr lang="en-US" err="1"/>
              <a:t>Cyrl</a:t>
            </a:r>
            <a:r>
              <a:rPr lang="en-US"/>
              <a:t> 300</a:t>
            </a:r>
          </a:p>
        </p:txBody>
      </p:sp>
      <p:sp>
        <p:nvSpPr>
          <p:cNvPr id="10" name="Текст 6"/>
          <p:cNvSpPr>
            <a:spLocks noGrp="1"/>
          </p:cNvSpPr>
          <p:nvPr>
            <p:ph type="body" sz="quarter" idx="14" hasCustomPrompt="1"/>
          </p:nvPr>
        </p:nvSpPr>
        <p:spPr>
          <a:xfrm>
            <a:off x="6351219" y="3272071"/>
            <a:ext cx="3331992" cy="378896"/>
          </a:xfrm>
          <a:prstGeom prst="rect">
            <a:avLst/>
          </a:prstGeom>
        </p:spPr>
        <p:txBody>
          <a:bodyPr/>
          <a:lstStyle>
            <a:lvl1pPr marL="0" indent="0">
              <a:buNone/>
              <a:defRPr lang="en-US" sz="1800" dirty="0" smtClean="0">
                <a:latin typeface="Museo Sans Cyrl 300" panose="02000000000000000000" pitchFamily="50" charset="-52"/>
              </a:defRPr>
            </a:lvl1pPr>
            <a:lvl2pPr marL="457200" indent="0">
              <a:buNone/>
              <a:defRPr/>
            </a:lvl2pPr>
          </a:lstStyle>
          <a:p>
            <a:pPr lvl="0"/>
            <a:r>
              <a:rPr lang="en-US" err="1"/>
              <a:t>Museo</a:t>
            </a:r>
            <a:r>
              <a:rPr lang="en-US"/>
              <a:t> Sans </a:t>
            </a:r>
            <a:r>
              <a:rPr lang="en-US" err="1"/>
              <a:t>Cyrl</a:t>
            </a:r>
            <a:r>
              <a:rPr lang="en-US"/>
              <a:t> 500</a:t>
            </a:r>
          </a:p>
        </p:txBody>
      </p:sp>
      <p:sp>
        <p:nvSpPr>
          <p:cNvPr id="11" name="Текст 6"/>
          <p:cNvSpPr>
            <a:spLocks noGrp="1"/>
          </p:cNvSpPr>
          <p:nvPr>
            <p:ph type="body" sz="quarter" idx="15" hasCustomPrompt="1"/>
          </p:nvPr>
        </p:nvSpPr>
        <p:spPr>
          <a:xfrm>
            <a:off x="6351219" y="3747647"/>
            <a:ext cx="3331992" cy="2223945"/>
          </a:xfrm>
          <a:prstGeom prst="rect">
            <a:avLst/>
          </a:prstGeom>
        </p:spPr>
        <p:txBody>
          <a:bodyPr/>
          <a:lstStyle>
            <a:lvl1pPr marL="0" indent="0">
              <a:buNone/>
              <a:defRPr lang="en-US" sz="1400" dirty="0" smtClean="0">
                <a:latin typeface="Museo Sans Cyrl 100" panose="02000000000000000000" pitchFamily="50" charset="-52"/>
              </a:defRPr>
            </a:lvl1pPr>
            <a:lvl2pPr marL="457200" indent="0">
              <a:buNone/>
              <a:defRPr/>
            </a:lvl2pPr>
          </a:lstStyle>
          <a:p>
            <a:pPr lvl="0"/>
            <a:r>
              <a:rPr lang="en-US" err="1"/>
              <a:t>Museo</a:t>
            </a:r>
            <a:r>
              <a:rPr lang="en-US"/>
              <a:t> Sans </a:t>
            </a:r>
            <a:r>
              <a:rPr lang="en-US" err="1"/>
              <a:t>Cyrl</a:t>
            </a:r>
            <a:r>
              <a:rPr lang="en-US"/>
              <a:t> 100</a:t>
            </a:r>
          </a:p>
        </p:txBody>
      </p:sp>
      <p:sp>
        <p:nvSpPr>
          <p:cNvPr id="13" name="Текст 6"/>
          <p:cNvSpPr>
            <a:spLocks noGrp="1"/>
          </p:cNvSpPr>
          <p:nvPr>
            <p:ph type="body" sz="quarter" idx="11" hasCustomPrompt="1"/>
          </p:nvPr>
        </p:nvSpPr>
        <p:spPr>
          <a:xfrm>
            <a:off x="2017343" y="2614040"/>
            <a:ext cx="4333876" cy="399748"/>
          </a:xfrm>
          <a:prstGeom prst="rect">
            <a:avLst/>
          </a:prstGeom>
        </p:spPr>
        <p:txBody>
          <a:bodyPr/>
          <a:lstStyle>
            <a:lvl1pPr marL="0" indent="0">
              <a:buNone/>
              <a:defRPr sz="2000">
                <a:latin typeface="+mj-lt"/>
              </a:defRPr>
            </a:lvl1pPr>
            <a:lvl2pPr marL="457200" indent="0">
              <a:buNone/>
              <a:defRPr/>
            </a:lvl2pPr>
          </a:lstStyle>
          <a:p>
            <a:pPr lvl="0"/>
            <a:r>
              <a:rPr lang="en-US" err="1"/>
              <a:t>Museo</a:t>
            </a:r>
            <a:r>
              <a:rPr lang="en-US"/>
              <a:t> Sans </a:t>
            </a:r>
            <a:r>
              <a:rPr lang="en-US" err="1"/>
              <a:t>Cyrl</a:t>
            </a:r>
            <a:r>
              <a:rPr lang="en-US"/>
              <a:t> 900</a:t>
            </a:r>
          </a:p>
          <a:p>
            <a:pPr lvl="0"/>
            <a:endParaRPr lang="en-US"/>
          </a:p>
        </p:txBody>
      </p:sp>
      <p:pic>
        <p:nvPicPr>
          <p:cNvPr id="3" name="Рисунок 2">
            <a:extLst>
              <a:ext uri="{FF2B5EF4-FFF2-40B4-BE49-F238E27FC236}">
                <a16:creationId xmlns:a16="http://schemas.microsoft.com/office/drawing/2014/main" id="{4986BC19-5B2E-4CAF-AAD9-0C2581ED79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703" y="345363"/>
            <a:ext cx="1590675" cy="714375"/>
          </a:xfrm>
          <a:prstGeom prst="rect">
            <a:avLst/>
          </a:prstGeom>
        </p:spPr>
      </p:pic>
    </p:spTree>
    <p:extLst>
      <p:ext uri="{BB962C8B-B14F-4D97-AF65-F5344CB8AC3E}">
        <p14:creationId xmlns:p14="http://schemas.microsoft.com/office/powerpoint/2010/main" val="12022949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accent6"/>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6425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556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accent6"/>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accent6"/>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616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 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3788108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p:nvSpPr>
        <p:spPr bwMode="white">
          <a:xfrm>
            <a:off x="-635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6" name="Title 5"/>
          <p:cNvSpPr>
            <a:spLocks noGrp="1"/>
          </p:cNvSpPr>
          <p:nvPr>
            <p:ph type="title"/>
          </p:nvPr>
        </p:nvSpPr>
        <p:spPr>
          <a:xfrm>
            <a:off x="630000" y="622800"/>
            <a:ext cx="6350663" cy="664797"/>
          </a:xfrm>
        </p:spPr>
        <p:txBody>
          <a:bodyPr anchor="t"/>
          <a:lstStyle/>
          <a:p>
            <a:r>
              <a:rPr lang="en-US"/>
              <a:t>Click to edit Master title style</a:t>
            </a:r>
          </a:p>
        </p:txBody>
      </p:sp>
    </p:spTree>
    <p:extLst>
      <p:ext uri="{BB962C8B-B14F-4D97-AF65-F5344CB8AC3E}">
        <p14:creationId xmlns:p14="http://schemas.microsoft.com/office/powerpoint/2010/main" val="1187873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5" name="Title 4"/>
          <p:cNvSpPr>
            <a:spLocks noGrp="1"/>
          </p:cNvSpPr>
          <p:nvPr>
            <p:ph type="title"/>
          </p:nvPr>
        </p:nvSpPr>
        <p:spPr>
          <a:xfrm>
            <a:off x="630000" y="622800"/>
            <a:ext cx="8201766" cy="664797"/>
          </a:xfrm>
        </p:spPr>
        <p:txBody>
          <a:bodyPr anchor="t"/>
          <a:lstStyle/>
          <a:p>
            <a:r>
              <a:rPr lang="en-US"/>
              <a:t>Click to edit Master title style</a:t>
            </a:r>
          </a:p>
        </p:txBody>
      </p:sp>
    </p:spTree>
    <p:extLst>
      <p:ext uri="{BB962C8B-B14F-4D97-AF65-F5344CB8AC3E}">
        <p14:creationId xmlns:p14="http://schemas.microsoft.com/office/powerpoint/2010/main" val="1825414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 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20200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Green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951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Green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88099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Left arro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2" name="Picture 1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630000" y="2764203"/>
            <a:ext cx="2478638" cy="1314311"/>
          </a:xfrm>
        </p:spPr>
        <p:txBody>
          <a:bodyPr anchor="ctr" anchorCtr="0">
            <a:noAutofit/>
          </a:bodyPr>
          <a:lstStyle>
            <a:lvl1pPr>
              <a:defRPr>
                <a:solidFill>
                  <a:schemeClr val="accent6"/>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83131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4" name="Текст 9"/>
          <p:cNvSpPr>
            <a:spLocks noGrp="1"/>
          </p:cNvSpPr>
          <p:nvPr>
            <p:ph type="body" sz="quarter" idx="10" hasCustomPrompt="1"/>
          </p:nvPr>
        </p:nvSpPr>
        <p:spPr>
          <a:xfrm>
            <a:off x="320703" y="1441832"/>
            <a:ext cx="11550594" cy="366425"/>
          </a:xfrm>
          <a:prstGeom prst="rect">
            <a:avLst/>
          </a:prstGeom>
        </p:spPr>
        <p:txBody>
          <a:bodyPr/>
          <a:lstStyle>
            <a:lvl1pPr marL="0" indent="0">
              <a:buNone/>
              <a:defRPr sz="2400" baseline="0">
                <a:latin typeface="+mj-lt"/>
              </a:defRPr>
            </a:lvl1pPr>
          </a:lstStyle>
          <a:p>
            <a:r>
              <a:rPr lang="uk-UA">
                <a:solidFill>
                  <a:srgbClr val="004188"/>
                </a:solidFill>
                <a:latin typeface="+mj-lt"/>
              </a:rPr>
              <a:t>Діаграма</a:t>
            </a:r>
            <a:endParaRPr lang="nl-NL">
              <a:solidFill>
                <a:srgbClr val="004188"/>
              </a:solidFill>
              <a:latin typeface="+mj-lt"/>
            </a:endParaRPr>
          </a:p>
        </p:txBody>
      </p:sp>
      <p:sp>
        <p:nvSpPr>
          <p:cNvPr id="5" name="Диаграмма 4"/>
          <p:cNvSpPr>
            <a:spLocks noGrp="1"/>
          </p:cNvSpPr>
          <p:nvPr>
            <p:ph type="chart" sz="quarter" idx="11" hasCustomPrompt="1"/>
          </p:nvPr>
        </p:nvSpPr>
        <p:spPr>
          <a:xfrm>
            <a:off x="3023410" y="2352714"/>
            <a:ext cx="6559128" cy="3897236"/>
          </a:xfrm>
          <a:prstGeom prst="rect">
            <a:avLst/>
          </a:prstGeom>
        </p:spPr>
        <p:txBody>
          <a:bodyPr/>
          <a:lstStyle>
            <a:lvl1pPr marL="0" indent="0">
              <a:buNone/>
              <a:defRPr/>
            </a:lvl1pPr>
          </a:lstStyle>
          <a:p>
            <a:r>
              <a:rPr lang="uk-UA"/>
              <a:t>Діаграма</a:t>
            </a:r>
            <a:endParaRPr lang="ru-RU"/>
          </a:p>
        </p:txBody>
      </p:sp>
      <p:pic>
        <p:nvPicPr>
          <p:cNvPr id="3" name="Рисунок 2">
            <a:extLst>
              <a:ext uri="{FF2B5EF4-FFF2-40B4-BE49-F238E27FC236}">
                <a16:creationId xmlns:a16="http://schemas.microsoft.com/office/drawing/2014/main" id="{31FE0587-F571-413E-A324-75CA7CB32CB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703" y="411740"/>
            <a:ext cx="1590675" cy="714375"/>
          </a:xfrm>
          <a:prstGeom prst="rect">
            <a:avLst/>
          </a:prstGeom>
        </p:spPr>
      </p:pic>
    </p:spTree>
    <p:extLst>
      <p:ext uri="{BB962C8B-B14F-4D97-AF65-F5344CB8AC3E}">
        <p14:creationId xmlns:p14="http://schemas.microsoft.com/office/powerpoint/2010/main" val="38038538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67070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 Arrow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accent6"/>
                </a:solidFill>
                <a:latin typeface="+mj-lt"/>
                <a:ea typeface="+mj-ea"/>
                <a:cs typeface="+mj-cs"/>
                <a:sym typeface="+mj-lt"/>
              </a:defRPr>
            </a:lvl1pPr>
          </a:lstStyle>
          <a:p>
            <a:r>
              <a:rPr lang="en-US"/>
              <a:t>Click to add title</a:t>
            </a: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023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5466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 Arrow half">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4868592" cy="664797"/>
          </a:xfrm>
        </p:spPr>
        <p:txBody>
          <a:bodyPr anchor="t"/>
          <a:lstStyle/>
          <a:p>
            <a:r>
              <a:rPr lang="en-US"/>
              <a:t>Click to edit Master title style</a:t>
            </a:r>
          </a:p>
        </p:txBody>
      </p:sp>
    </p:spTree>
    <p:extLst>
      <p:ext uri="{BB962C8B-B14F-4D97-AF65-F5344CB8AC3E}">
        <p14:creationId xmlns:p14="http://schemas.microsoft.com/office/powerpoint/2010/main" val="2861692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accent6"/>
              </a:gs>
              <a:gs pos="100000">
                <a:schemeClr val="accent6"/>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7"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p:cNvSpPr>
            <a:spLocks noGrp="1"/>
          </p:cNvSpPr>
          <p:nvPr>
            <p:ph type="title"/>
          </p:nvPr>
        </p:nvSpPr>
        <p:spPr>
          <a:xfrm>
            <a:off x="630000" y="622800"/>
            <a:ext cx="491736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232886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Arrow two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630000" y="622800"/>
            <a:ext cx="6971712" cy="664797"/>
          </a:xfrm>
        </p:spPr>
        <p:txBody>
          <a:bodyPr anchor="t"/>
          <a:lstStyle/>
          <a:p>
            <a:r>
              <a:rPr lang="en-US"/>
              <a:t>Click to edit Master title style</a:t>
            </a:r>
          </a:p>
        </p:txBody>
      </p:sp>
    </p:spTree>
    <p:extLst>
      <p:ext uri="{BB962C8B-B14F-4D97-AF65-F5344CB8AC3E}">
        <p14:creationId xmlns:p14="http://schemas.microsoft.com/office/powerpoint/2010/main" val="22475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6"/>
              </a:gs>
              <a:gs pos="100000">
                <a:schemeClr val="accent6"/>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p:cNvSpPr>
            <a:spLocks noGrp="1"/>
          </p:cNvSpPr>
          <p:nvPr>
            <p:ph type="title"/>
          </p:nvPr>
        </p:nvSpPr>
        <p:spPr>
          <a:xfrm>
            <a:off x="630000" y="622800"/>
            <a:ext cx="7118016"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4044216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133588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fld id="{F7C32F24-8062-4E40-8E62-B6AE5565B2DD}" type="datetimeFigureOut">
              <a:rPr lang="en-US" smtClean="0"/>
              <a:t>3/14/2024</a:t>
            </a:fld>
            <a:endParaRPr lang="en-US"/>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Rectangle 5"/>
          <p:cNvSpPr/>
          <p:nvPr/>
        </p:nvSpPr>
        <p:spPr bwMode="white">
          <a:xfrm>
            <a:off x="630000" y="625475"/>
            <a:ext cx="932688" cy="932688"/>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accent6"/>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6"/>
                </a:solidFill>
                <a:latin typeface="+mj-lt"/>
                <a:ea typeface="+mj-ea"/>
                <a:cs typeface="+mj-cs"/>
                <a:sym typeface="+mj-lt"/>
              </a:defRPr>
            </a:lvl1pPr>
          </a:lstStyle>
          <a:p>
            <a:r>
              <a:rPr lang="en-US"/>
              <a:t>Click to add big statement text</a:t>
            </a: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53124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accent6">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6"/>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358758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endParaRPr lang="uk-UA"/>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uk-UA"/>
          </a:p>
        </p:txBody>
      </p:sp>
      <p:sp>
        <p:nvSpPr>
          <p:cNvPr id="4" name="Дата 3"/>
          <p:cNvSpPr>
            <a:spLocks noGrp="1"/>
          </p:cNvSpPr>
          <p:nvPr>
            <p:ph type="dt" sz="half" idx="10"/>
          </p:nvPr>
        </p:nvSpPr>
        <p:spPr/>
        <p:txBody>
          <a:bodyPr/>
          <a:lstStyle/>
          <a:p>
            <a:fld id="{3B980E73-BFFB-453C-BC56-FB7C440D67B8}" type="datetime1">
              <a:rPr lang="uk-UA" smtClean="0"/>
              <a:t>14.03.2024</a:t>
            </a:fld>
            <a:endParaRPr lang="uk-UA"/>
          </a:p>
        </p:txBody>
      </p:sp>
      <p:sp>
        <p:nvSpPr>
          <p:cNvPr id="5" name="Нижний колонтитул 4"/>
          <p:cNvSpPr>
            <a:spLocks noGrp="1"/>
          </p:cNvSpPr>
          <p:nvPr>
            <p:ph type="ftr" sz="quarter" idx="11"/>
          </p:nvPr>
        </p:nvSpPr>
        <p:spPr/>
        <p:txBody>
          <a:bodyPr/>
          <a:lstStyle/>
          <a:p>
            <a:r>
              <a:rPr lang="ru-RU"/>
              <a:t>Станом на 20:00 01.04.2020 року</a:t>
            </a:r>
            <a:endParaRPr lang="uk-UA"/>
          </a:p>
        </p:txBody>
      </p:sp>
      <p:sp>
        <p:nvSpPr>
          <p:cNvPr id="6" name="Номер слайда 5"/>
          <p:cNvSpPr>
            <a:spLocks noGrp="1"/>
          </p:cNvSpPr>
          <p:nvPr>
            <p:ph type="sldNum" sz="quarter" idx="12"/>
          </p:nvPr>
        </p:nvSpPr>
        <p:spPr/>
        <p:txBody>
          <a:bodyPr/>
          <a:lstStyle/>
          <a:p>
            <a:fld id="{AAC97864-0878-4A4B-96BD-AB984FFF68F0}" type="slidenum">
              <a:rPr lang="uk-UA" smtClean="0"/>
              <a:t>‹#›</a:t>
            </a:fld>
            <a:endParaRPr lang="uk-UA"/>
          </a:p>
        </p:txBody>
      </p:sp>
    </p:spTree>
    <p:extLst>
      <p:ext uri="{BB962C8B-B14F-4D97-AF65-F5344CB8AC3E}">
        <p14:creationId xmlns:p14="http://schemas.microsoft.com/office/powerpoint/2010/main" val="41189888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95000"/>
            <a:lumOff val="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8"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
        <p:nvSpPr>
          <p:cNvPr id="7" name="Title 6"/>
          <p:cNvSpPr>
            <a:spLocks noGrp="1"/>
          </p:cNvSpPr>
          <p:nvPr>
            <p:ph type="title"/>
          </p:nvPr>
        </p:nvSpPr>
        <p:spPr>
          <a:xfrm>
            <a:off x="630000" y="622800"/>
            <a:ext cx="10933350" cy="664797"/>
          </a:xfrm>
        </p:spPr>
        <p:txBody>
          <a:bodyPr anchor="t"/>
          <a:lstStyle>
            <a:lvl1pPr>
              <a:defRPr>
                <a:solidFill>
                  <a:srgbClr val="FFFFFF"/>
                </a:solidFill>
              </a:defRPr>
            </a:lvl1pPr>
          </a:lstStyle>
          <a:p>
            <a:r>
              <a:rPr lang="en-US"/>
              <a:t>Click to edit Master title style</a:t>
            </a:r>
          </a:p>
        </p:txBody>
      </p:sp>
    </p:spTree>
    <p:extLst>
      <p:ext uri="{BB962C8B-B14F-4D97-AF65-F5344CB8AC3E}">
        <p14:creationId xmlns:p14="http://schemas.microsoft.com/office/powerpoint/2010/main" val="339080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063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fld id="{F7C32F24-8062-4E40-8E62-B6AE5565B2DD}" type="datetimeFigureOut">
              <a:rPr lang="en-US" smtClean="0"/>
              <a:t>3/14/2024</a:t>
            </a:fld>
            <a:endParaRPr lang="en-US"/>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8"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Lunch discussion handout v2.pptx</a:t>
            </a:r>
            <a:endParaRPr lang="en-US" sz="700">
              <a:solidFill>
                <a:schemeClr val="bg1"/>
              </a:solidFill>
              <a:latin typeface="+mn-lt"/>
              <a:ea typeface="+mn-ea"/>
              <a:cs typeface="+mn-cs"/>
              <a:sym typeface="+mn-lt"/>
            </a:endParaRPr>
          </a:p>
        </p:txBody>
      </p:sp>
    </p:spTree>
    <p:extLst>
      <p:ext uri="{BB962C8B-B14F-4D97-AF65-F5344CB8AC3E}">
        <p14:creationId xmlns:p14="http://schemas.microsoft.com/office/powerpoint/2010/main" val="530345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fld id="{F7C32F24-8062-4E40-8E62-B6AE5565B2DD}" type="datetimeFigureOut">
              <a:rPr lang="en-US" smtClean="0"/>
              <a:t>3/14/2024</a:t>
            </a:fld>
            <a:endParaRPr lang="en-US"/>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6"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9507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733505"/>
            <a:ext cx="6208776" cy="3185487"/>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mn-lt"/>
              </a:rPr>
              <a:t>The services and materials provided by Boston Consulting Group (BCG) are subject to BCG's Standard Terms </a:t>
            </a:r>
            <a:br>
              <a:rPr lang="en-US" sz="900" b="0">
                <a:latin typeface="+mn-lt"/>
                <a:ea typeface="+mn-ea"/>
                <a:cs typeface="+mn-cs"/>
                <a:sym typeface="+mn-lt"/>
              </a:rPr>
            </a:br>
            <a:r>
              <a:rPr lang="en-US" sz="900" b="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mn-lt"/>
              </a:rPr>
              <a:t> </a:t>
            </a:r>
          </a:p>
          <a:p>
            <a:pPr indent="0">
              <a:lnSpc>
                <a:spcPct val="100000"/>
              </a:lnSpc>
            </a:pPr>
            <a:r>
              <a:rPr lang="en-US" sz="900" b="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solidFill>
                  <a:schemeClr val="accent6"/>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chemeClr val="accent6"/>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mn-lt"/>
              </a:defRPr>
            </a:lvl1pPr>
          </a:lstStyle>
          <a:p>
            <a:fld id="{F7C32F24-8062-4E40-8E62-B6AE5565B2DD}" type="datetimeFigureOut">
              <a:rPr lang="en-US" smtClean="0"/>
              <a:t>3/14/2024</a:t>
            </a:fld>
            <a:endParaRPr lang="en-US"/>
          </a:p>
        </p:txBody>
      </p: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06483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28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pic>
        <p:nvPicPr>
          <p:cNvPr id="10"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16" name="Rectangle 15"/>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latin typeface="Arial" pitchFamily="34" charset="0"/>
              <a:cs typeface="Arial" pitchFamily="34" charset="0"/>
            </a:endParaRPr>
          </a:p>
        </p:txBody>
      </p:sp>
      <p:sp>
        <p:nvSpPr>
          <p:cNvPr id="17" name="Title 1"/>
          <p:cNvSpPr>
            <a:spLocks noGrp="1"/>
          </p:cNvSpPr>
          <p:nvPr>
            <p:ph type="ctrTitle" hasCustomPrompt="1"/>
          </p:nvPr>
        </p:nvSpPr>
        <p:spPr bwMode="ltGray">
          <a:xfrm>
            <a:off x="1282391" y="4194742"/>
            <a:ext cx="8875829" cy="1325276"/>
          </a:xfrm>
          <a:prstGeom prst="rect">
            <a:avLst/>
          </a:prstGeom>
        </p:spPr>
        <p:txBody>
          <a:bodyPr lIns="0" tIns="0" bIns="0" anchor="t">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hank you!</a:t>
            </a:r>
          </a:p>
        </p:txBody>
      </p:sp>
      <p:grpSp>
        <p:nvGrpSpPr>
          <p:cNvPr id="18" name="Group 17"/>
          <p:cNvGrpSpPr/>
          <p:nvPr/>
        </p:nvGrpSpPr>
        <p:grpSpPr>
          <a:xfrm>
            <a:off x="5012098" y="292077"/>
            <a:ext cx="2127716" cy="2280707"/>
            <a:chOff x="5012098" y="292077"/>
            <a:chExt cx="2127716" cy="2280707"/>
          </a:xfrm>
        </p:grpSpPr>
        <p:pic>
          <p:nvPicPr>
            <p:cNvPr id="19"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20"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Tree>
    <p:extLst>
      <p:ext uri="{BB962C8B-B14F-4D97-AF65-F5344CB8AC3E}">
        <p14:creationId xmlns:p14="http://schemas.microsoft.com/office/powerpoint/2010/main" val="1663047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5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55"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40641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9"/>
            <a:ext cx="3448800" cy="3609937"/>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047493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1011257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0" name="Title 1"/>
          <p:cNvSpPr txBox="1">
            <a:spLocks/>
          </p:cNvSpPr>
          <p:nvPr/>
        </p:nvSpPr>
        <p:spPr>
          <a:xfrm>
            <a:off x="630000" y="719749"/>
            <a:ext cx="7189998" cy="470898"/>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99306"/>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7839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 Ma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latin typeface="Franklin Gothic Medium"/>
                <a:cs typeface="Franklin Gothic Medium"/>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latin typeface="Franklin Gothic Medium"/>
                <a:cs typeface="Franklin Gothic Medium"/>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pic>
        <p:nvPicPr>
          <p:cNvPr id="9"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0"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spTree>
    <p:extLst>
      <p:ext uri="{BB962C8B-B14F-4D97-AF65-F5344CB8AC3E}">
        <p14:creationId xmlns:p14="http://schemas.microsoft.com/office/powerpoint/2010/main" val="1800153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Agenda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4"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7" name="TextBox 16"/>
          <p:cNvSpPr txBox="1"/>
          <p:nvPr/>
        </p:nvSpPr>
        <p:spPr>
          <a:xfrm>
            <a:off x="630000" y="3207715"/>
            <a:ext cx="1547143" cy="470898"/>
          </a:xfrm>
          <a:prstGeom prst="rect">
            <a:avLst/>
          </a:prstGeom>
          <a:noFill/>
        </p:spPr>
        <p:txBody>
          <a:bodyPr wrap="square" lIns="0" tIns="0" rIns="0" bIns="0" rtlCol="0" anchor="t">
            <a:spAutoFit/>
          </a:bodyPr>
          <a:lstStyle/>
          <a:p>
            <a:pPr>
              <a:lnSpc>
                <a:spcPct val="90000"/>
              </a:lnSpc>
              <a:spcAft>
                <a:spcPts val="600"/>
              </a:spcAft>
            </a:pPr>
            <a:r>
              <a:rPr lang="en-US" sz="3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331117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invGray">
          <a:xfrm>
            <a:off x="1388145" y="4691187"/>
            <a:ext cx="929337" cy="995874"/>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schemeClr val="tx2"/>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6"/>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chemeClr val="tx2"/>
              </a:solidFill>
              <a:latin typeface="+mn-lt"/>
              <a:ea typeface="+mn-ea"/>
              <a:cs typeface="+mn-cs"/>
              <a:sym typeface="+mn-lt"/>
            </a:endParaRPr>
          </a:p>
        </p:txBody>
      </p:sp>
      <p:sp>
        <p:nvSpPr>
          <p:cNvPr id="11" name="TextBox 10"/>
          <p:cNvSpPr txBox="1"/>
          <p:nvPr/>
        </p:nvSpPr>
        <p:spPr>
          <a:xfrm>
            <a:off x="630000" y="907198"/>
            <a:ext cx="3448800" cy="3609938"/>
          </a:xfrm>
          <a:prstGeom prst="rect">
            <a:avLst/>
          </a:prstGeom>
          <a:noFill/>
          <a:ln>
            <a:solidFill>
              <a:schemeClr val="accent6"/>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accent6"/>
                </a:solidFill>
                <a:latin typeface="+mn-lt"/>
                <a:ea typeface="+mn-ea"/>
                <a:cs typeface="+mn-cs"/>
                <a:sym typeface="+mn-lt"/>
              </a:rPr>
              <a:t>Agenda</a:t>
            </a:r>
          </a:p>
        </p:txBody>
      </p:sp>
    </p:spTree>
    <p:extLst>
      <p:ext uri="{BB962C8B-B14F-4D97-AF65-F5344CB8AC3E}">
        <p14:creationId xmlns:p14="http://schemas.microsoft.com/office/powerpoint/2010/main" val="349188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8" name="Rectangle 7"/>
          <p:cNvSpPr/>
          <p:nvPr/>
        </p:nvSpPr>
        <p:spPr bwMode="white">
          <a:xfrm>
            <a:off x="1284743" y="1428131"/>
            <a:ext cx="947672" cy="947672"/>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803268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7" name="Title 1"/>
          <p:cNvSpPr txBox="1">
            <a:spLocks/>
          </p:cNvSpPr>
          <p:nvPr/>
        </p:nvSpPr>
        <p:spPr>
          <a:xfrm>
            <a:off x="630000" y="622800"/>
            <a:ext cx="7189998" cy="664797"/>
          </a:xfrm>
          <a:prstGeom prst="rect">
            <a:avLst/>
          </a:prstGeom>
        </p:spPr>
        <p:txBody>
          <a:bodyPr vert="horz" wrap="square" lIns="0" tIns="0" rIns="0" bIns="0" rtlCol="0" anchor="ctr"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a:solidFill>
                  <a:schemeClr val="accent6"/>
                </a:solidFill>
                <a:latin typeface="+mn-lt"/>
                <a:ea typeface="+mn-ea"/>
                <a:cs typeface="+mn-cs"/>
                <a:sym typeface="+mn-lt"/>
              </a:rPr>
              <a:t>Agenda</a:t>
            </a:r>
          </a:p>
        </p:txBody>
      </p:sp>
      <p:cxnSp>
        <p:nvCxnSpPr>
          <p:cNvPr id="8" name="Straight Connector 7"/>
          <p:cNvCxnSpPr/>
          <p:nvPr/>
        </p:nvCxnSpPr>
        <p:spPr bwMode="white">
          <a:xfrm>
            <a:off x="618898" y="1299306"/>
            <a:ext cx="11576304" cy="0"/>
          </a:xfrm>
          <a:prstGeom prst="line">
            <a:avLst/>
          </a:prstGeom>
          <a:ln w="9525" cap="flat" cmpd="sng" algn="ctr">
            <a:solidFill>
              <a:srgbClr val="5A2259"/>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598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Inc. All rights reserved.</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1" name="FooterSimple" hidden="1"/>
          <p:cNvSpPr txBox="1"/>
          <p:nvPr>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Lunch discussion handout v2.pptx</a:t>
            </a:r>
            <a:endParaRPr lang="en-US" sz="700">
              <a:solidFill>
                <a:schemeClr val="bg1">
                  <a:lumMod val="50000"/>
                </a:schemeClr>
              </a:solidFill>
              <a:latin typeface="+mn-lt"/>
              <a:ea typeface="+mn-ea"/>
              <a:cs typeface="+mn-cs"/>
              <a:sym typeface="+mn-lt"/>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910072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710919"/>
            <a:ext cx="2819400" cy="1495794"/>
          </a:xfrm>
          <a:prstGeom prst="rect">
            <a:avLst/>
          </a:prstGeom>
          <a:noFill/>
        </p:spPr>
        <p:txBody>
          <a:bodyPr wrap="square" lIns="0" tIns="0" rIns="0" bIns="0" rtlCol="0" anchor="ctr">
            <a:spAutoFit/>
          </a:bodyPr>
          <a:lstStyle/>
          <a:p>
            <a:pPr marL="0" indent="0">
              <a:lnSpc>
                <a:spcPct val="90000"/>
              </a:lnSpc>
              <a:spcAft>
                <a:spcPts val="0"/>
              </a:spcAft>
              <a:buFontTx/>
              <a:buNone/>
            </a:pPr>
            <a:r>
              <a:rPr lang="en-US" sz="5400">
                <a:solidFill>
                  <a:schemeClr val="accent6"/>
                </a:solidFill>
                <a:latin typeface="+mn-lt"/>
                <a:ea typeface="+mn-ea"/>
                <a:cs typeface="+mn-cs"/>
                <a:sym typeface="+mn-lt"/>
              </a:rPr>
              <a:t>Table of contents</a:t>
            </a:r>
          </a:p>
        </p:txBody>
      </p:sp>
      <p:sp>
        <p:nvSpPr>
          <p:cNvPr id="24"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Inc. All rights reserved.</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1169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Title Slide - Ma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latin typeface="Franklin Gothic Medium"/>
                <a:cs typeface="Franklin Gothic Medium"/>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latin typeface="Franklin Gothic Medium"/>
                <a:cs typeface="Franklin Gothic Medium"/>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pic>
        <p:nvPicPr>
          <p:cNvPr id="9"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0" name="Image 15" descr="baseline-FIND-Office.em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spTree>
    <p:extLst>
      <p:ext uri="{BB962C8B-B14F-4D97-AF65-F5344CB8AC3E}">
        <p14:creationId xmlns:p14="http://schemas.microsoft.com/office/powerpoint/2010/main" val="14780577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33246-591F-47EF-A447-F2870F682E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924DA1A-2C70-412E-9356-94E1005F06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1A5F56-CA45-4E1D-907B-334A8266496B}"/>
              </a:ext>
            </a:extLst>
          </p:cNvPr>
          <p:cNvSpPr>
            <a:spLocks noGrp="1"/>
          </p:cNvSpPr>
          <p:nvPr>
            <p:ph type="dt" sz="half" idx="10"/>
          </p:nvPr>
        </p:nvSpPr>
        <p:spPr/>
        <p:txBody>
          <a:bodyPr/>
          <a:lstStyle/>
          <a:p>
            <a:fld id="{F7C32F24-8062-4E40-8E62-B6AE5565B2DD}" type="datetimeFigureOut">
              <a:rPr lang="en-US" smtClean="0"/>
              <a:t>3/14/2024</a:t>
            </a:fld>
            <a:endParaRPr lang="en-US"/>
          </a:p>
        </p:txBody>
      </p:sp>
      <p:sp>
        <p:nvSpPr>
          <p:cNvPr id="5" name="Footer Placeholder 4">
            <a:extLst>
              <a:ext uri="{FF2B5EF4-FFF2-40B4-BE49-F238E27FC236}">
                <a16:creationId xmlns:a16="http://schemas.microsoft.com/office/drawing/2014/main" id="{B4B10AD3-06AA-4BBF-9669-A5080494F1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5AE318-F73E-42C1-BC6F-D08DFE22F257}"/>
              </a:ext>
            </a:extLst>
          </p:cNvPr>
          <p:cNvSpPr>
            <a:spLocks noGrp="1"/>
          </p:cNvSpPr>
          <p:nvPr>
            <p:ph type="sldNum" sz="quarter" idx="12"/>
          </p:nvPr>
        </p:nvSpPr>
        <p:spPr/>
        <p:txBody>
          <a:bodyPr/>
          <a:lstStyle/>
          <a:p>
            <a:fld id="{967FD74F-803C-4557-9630-5CAE2CFBFEA0}" type="slidenum">
              <a:rPr lang="en-US" smtClean="0"/>
              <a:t>‹#›</a:t>
            </a:fld>
            <a:endParaRPr lang="en-US"/>
          </a:p>
        </p:txBody>
      </p:sp>
    </p:spTree>
    <p:extLst>
      <p:ext uri="{BB962C8B-B14F-4D97-AF65-F5344CB8AC3E}">
        <p14:creationId xmlns:p14="http://schemas.microsoft.com/office/powerpoint/2010/main" val="27336211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cSld name="Title Slide - Neutral">
    <p:spTree>
      <p:nvGrpSpPr>
        <p:cNvPr id="1" name=""/>
        <p:cNvGrpSpPr/>
        <p:nvPr/>
      </p:nvGrpSpPr>
      <p:grpSpPr>
        <a:xfrm>
          <a:off x="0" y="0"/>
          <a:ext cx="0" cy="0"/>
          <a:chOff x="0" y="0"/>
          <a:chExt cx="0" cy="0"/>
        </a:xfrm>
      </p:grpSpPr>
      <p:sp>
        <p:nvSpPr>
          <p:cNvPr id="5" name="Title 4"/>
          <p:cNvSpPr>
            <a:spLocks noGrp="1"/>
          </p:cNvSpPr>
          <p:nvPr>
            <p:ph type="title"/>
          </p:nvPr>
        </p:nvSpPr>
        <p:spPr>
          <a:xfrm>
            <a:off x="1282391" y="4044598"/>
            <a:ext cx="7079343" cy="584775"/>
          </a:xfrm>
        </p:spPr>
        <p:txBody>
          <a:bodyPr anchor="b" anchorCtr="0">
            <a:spAutoFit/>
          </a:bodyPr>
          <a:lstStyle>
            <a:lvl1pPr>
              <a:spcBef>
                <a:spcPts val="0"/>
              </a:spcBef>
              <a:defRPr sz="3200">
                <a:solidFill>
                  <a:schemeClr val="bg1"/>
                </a:solidFill>
              </a:defRPr>
            </a:lvl1pPr>
          </a:lstStyle>
          <a:p>
            <a:r>
              <a:rPr lang="en-US"/>
              <a:t>Click to edit Master title style</a:t>
            </a:r>
          </a:p>
        </p:txBody>
      </p:sp>
      <p:sp>
        <p:nvSpPr>
          <p:cNvPr id="14" name="Text Placeholder 13"/>
          <p:cNvSpPr>
            <a:spLocks noGrp="1"/>
          </p:cNvSpPr>
          <p:nvPr>
            <p:ph type="body" sz="quarter" idx="10"/>
          </p:nvPr>
        </p:nvSpPr>
        <p:spPr>
          <a:xfrm>
            <a:off x="1282391" y="4629370"/>
            <a:ext cx="7079343" cy="369332"/>
          </a:xfrm>
        </p:spPr>
        <p:txBody>
          <a:bodyPr>
            <a:spAutoFit/>
          </a:bodyPr>
          <a:lstStyle>
            <a:lvl1pPr>
              <a:spcBef>
                <a:spcPts val="0"/>
              </a:spcBef>
              <a:defRPr sz="2400" b="0">
                <a:solidFill>
                  <a:schemeClr val="bg1"/>
                </a:solidFill>
              </a:defRPr>
            </a:lvl1pPr>
          </a:lstStyle>
          <a:p>
            <a:pPr lvl="0"/>
            <a:r>
              <a:rPr lang="en-US"/>
              <a:t>Click to edit Master text styles</a:t>
            </a:r>
          </a:p>
        </p:txBody>
      </p:sp>
      <p:sp>
        <p:nvSpPr>
          <p:cNvPr id="15" name="Text Placeholder 13"/>
          <p:cNvSpPr>
            <a:spLocks noGrp="1"/>
          </p:cNvSpPr>
          <p:nvPr>
            <p:ph type="body" sz="quarter" idx="11"/>
          </p:nvPr>
        </p:nvSpPr>
        <p:spPr>
          <a:xfrm>
            <a:off x="1282391" y="6036333"/>
            <a:ext cx="7079343" cy="276999"/>
          </a:xfrm>
        </p:spPr>
        <p:txBody>
          <a:bodyPr>
            <a:spAutoFit/>
          </a:bodyPr>
          <a:lstStyle>
            <a:lvl1pPr>
              <a:defRPr sz="1800" b="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5181224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lgn="l">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3"/>
          <p:cNvSpPr txBox="1"/>
          <p:nvPr userDrawn="1"/>
        </p:nvSpPr>
        <p:spPr>
          <a:xfrm>
            <a:off x="8348245" y="154420"/>
            <a:ext cx="3674128" cy="35086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8" tIns="45718" rIns="45718" bIns="45718">
            <a:spAutoFit/>
          </a:bodyPr>
          <a:lstStyle>
            <a:lvl1pPr algn="ctr">
              <a:lnSpc>
                <a:spcPct val="120000"/>
              </a:lnSpc>
              <a:spcBef>
                <a:spcPts val="600"/>
              </a:spcBef>
              <a:defRPr sz="4400" b="1">
                <a:solidFill>
                  <a:srgbClr val="FFFFFF"/>
                </a:solidFill>
                <a:latin typeface="Arial"/>
                <a:ea typeface="Arial"/>
                <a:cs typeface="Arial"/>
                <a:sym typeface="Arial"/>
              </a:defRPr>
            </a:lvl1pPr>
          </a:lstStyle>
          <a:p>
            <a:pPr algn="l"/>
            <a:r>
              <a:rPr lang="en-GB" sz="1400" b="0">
                <a:solidFill>
                  <a:srgbClr val="034EA2"/>
                </a:solidFill>
                <a:latin typeface="Arial Black" panose="020B0A04020102020204" pitchFamily="34" charset="0"/>
              </a:rPr>
              <a:t>CORONAVIRUS GLOBAL RESPONSE</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925154" y="187594"/>
            <a:ext cx="268610" cy="268610"/>
          </a:xfrm>
          <a:prstGeom prst="rect">
            <a:avLst/>
          </a:prstGeom>
        </p:spPr>
      </p:pic>
      <p:sp>
        <p:nvSpPr>
          <p:cNvPr id="9" name="TextBox 3"/>
          <p:cNvSpPr txBox="1"/>
          <p:nvPr userDrawn="1"/>
        </p:nvSpPr>
        <p:spPr>
          <a:xfrm>
            <a:off x="630000" y="6405036"/>
            <a:ext cx="1006686" cy="153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spAutoFit/>
          </a:bodyPr>
          <a:lstStyle/>
          <a:p>
            <a:pPr algn="l">
              <a:defRPr sz="2400" b="1">
                <a:solidFill>
                  <a:srgbClr val="FFFFFF"/>
                </a:solidFill>
                <a:latin typeface="Arial"/>
                <a:ea typeface="Arial"/>
                <a:cs typeface="Arial"/>
                <a:sym typeface="Arial"/>
              </a:defRPr>
            </a:pPr>
            <a:r>
              <a:rPr lang="de-DE" sz="1000" b="0">
                <a:solidFill>
                  <a:schemeClr val="tx1"/>
                </a:solidFill>
                <a:latin typeface="+mn-lt"/>
                <a:ea typeface="+mn-ea"/>
                <a:cs typeface="+mn-cs"/>
                <a:sym typeface="+mn-lt"/>
              </a:rPr>
              <a:t>#GlobalGoalUnite</a:t>
            </a:r>
          </a:p>
        </p:txBody>
      </p:sp>
    </p:spTree>
    <p:extLst>
      <p:ext uri="{BB962C8B-B14F-4D97-AF65-F5344CB8AC3E}">
        <p14:creationId xmlns:p14="http://schemas.microsoft.com/office/powerpoint/2010/main" val="344136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5" name="Rectangle 4"/>
          <p:cNvSpPr/>
          <p:nvPr/>
        </p:nvSpPr>
        <p:spPr>
          <a:xfrm>
            <a:off x="1187451" y="191736"/>
            <a:ext cx="11004552" cy="790065"/>
          </a:xfrm>
          <a:prstGeom prst="rect">
            <a:avLst/>
          </a:prstGeom>
          <a:solidFill>
            <a:srgbClr val="EEF1F2"/>
          </a:solidFill>
          <a:ln w="25400" cap="flat" cmpd="sng" algn="ctr">
            <a:noFill/>
            <a:prstDash val="solid"/>
          </a:ln>
          <a:effectLst/>
        </p:spPr>
        <p:txBody>
          <a:bodyPr rtlCol="0" anchor="ctr"/>
          <a:lstStyle/>
          <a:p>
            <a:pPr algn="ctr" defTabSz="457200">
              <a:defRPr/>
            </a:pPr>
            <a:endParaRPr lang="en-US" kern="0">
              <a:solidFill>
                <a:prstClr val="black"/>
              </a:solidFill>
              <a:latin typeface="Franklin Gothic Book"/>
            </a:endParaRPr>
          </a:p>
        </p:txBody>
      </p:sp>
      <p:graphicFrame>
        <p:nvGraphicFramePr>
          <p:cNvPr id="4" name="Object 3"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2" name="Title 1"/>
          <p:cNvSpPr>
            <a:spLocks noGrp="1"/>
          </p:cNvSpPr>
          <p:nvPr>
            <p:ph type="title"/>
          </p:nvPr>
        </p:nvSpPr>
        <p:spPr>
          <a:xfrm>
            <a:off x="1472236" y="161925"/>
            <a:ext cx="10159013" cy="831850"/>
          </a:xfrm>
        </p:spPr>
        <p:txBody>
          <a:bodyPr lIns="216000"/>
          <a:lstStyle/>
          <a:p>
            <a:r>
              <a:rPr lang="en-US"/>
              <a:t>Click to edit Master title style</a:t>
            </a:r>
          </a:p>
        </p:txBody>
      </p:sp>
      <p:sp>
        <p:nvSpPr>
          <p:cNvPr id="3" name="Text Placeholder 7"/>
          <p:cNvSpPr>
            <a:spLocks noGrp="1"/>
          </p:cNvSpPr>
          <p:nvPr>
            <p:ph type="body" sz="quarter" idx="13"/>
          </p:nvPr>
        </p:nvSpPr>
        <p:spPr>
          <a:xfrm>
            <a:off x="562707" y="1508400"/>
            <a:ext cx="11068063" cy="4590000"/>
          </a:xfrm>
          <a:prstGeom prst="rect">
            <a:avLst/>
          </a:prstGeom>
        </p:spPr>
        <p:txBody>
          <a:bodyPr lIns="0" tIns="0" rIns="0" bIns="0"/>
          <a:lstStyle>
            <a:lvl1pPr marL="172800" indent="-172800">
              <a:spcBef>
                <a:spcPts val="384"/>
              </a:spcBef>
              <a:buClr>
                <a:schemeClr val="tx2"/>
              </a:buClr>
              <a:buFont typeface="Wingdings" panose="05000000000000000000" pitchFamily="2" charset="2"/>
              <a:buChar char="n"/>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Image 9" descr="logo-FIND-Office.wmf"/>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577" y="191738"/>
            <a:ext cx="1410659" cy="802038"/>
          </a:xfrm>
          <a:prstGeom prst="rect">
            <a:avLst/>
          </a:prstGeom>
        </p:spPr>
      </p:pic>
    </p:spTree>
    <p:extLst>
      <p:ext uri="{BB962C8B-B14F-4D97-AF65-F5344CB8AC3E}">
        <p14:creationId xmlns:p14="http://schemas.microsoft.com/office/powerpoint/2010/main" val="113470022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850880" cy="914400"/>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750483"/>
            <a:ext cx="10850880" cy="4466484"/>
          </a:xfrm>
        </p:spPr>
        <p:txBody>
          <a:bodyPr/>
          <a:lstStyle>
            <a:lvl2pPr>
              <a:defRPr sz="2133"/>
            </a:lvl2pPr>
            <a:lvl3pPr>
              <a:defRPr sz="1867"/>
            </a:lvl3pPr>
            <a:lvl4pPr>
              <a:defRPr sz="1600"/>
            </a:lvl4pPr>
            <a:lvl5pPr>
              <a:defRPr sz="1600"/>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3">
            <a:extLst>
              <a:ext uri="{FF2B5EF4-FFF2-40B4-BE49-F238E27FC236}">
                <a16:creationId xmlns:a16="http://schemas.microsoft.com/office/drawing/2014/main" id="{82D45AE0-EFBD-7349-A5C4-1AA1031C2827}"/>
              </a:ext>
            </a:extLst>
          </p:cNvPr>
          <p:cNvSpPr>
            <a:spLocks noGrp="1"/>
          </p:cNvSpPr>
          <p:nvPr>
            <p:ph type="dt" sz="half" idx="2"/>
          </p:nvPr>
        </p:nvSpPr>
        <p:spPr>
          <a:xfrm>
            <a:off x="10098897" y="6356351"/>
            <a:ext cx="1584960" cy="365125"/>
          </a:xfrm>
          <a:prstGeom prst="rect">
            <a:avLst/>
          </a:prstGeom>
        </p:spPr>
        <p:txBody>
          <a:bodyPr vert="horz" lIns="0" tIns="45720" rIns="0" bIns="45720" rtlCol="0" anchor="b" anchorCtr="0"/>
          <a:lstStyle>
            <a:lvl1pPr algn="l">
              <a:defRPr sz="1333">
                <a:solidFill>
                  <a:schemeClr val="tx1"/>
                </a:solidFill>
                <a:latin typeface="Calibri" panose="020F0502020204030204" pitchFamily="34" charset="0"/>
                <a:cs typeface="Calibri" panose="020F0502020204030204" pitchFamily="34" charset="0"/>
              </a:defRPr>
            </a:lvl1pPr>
          </a:lstStyle>
          <a:p>
            <a:fld id="{ACB6B034-2F67-554B-A124-FF999B9B0144}" type="datetime4">
              <a:rPr lang="en-US" smtClean="0">
                <a:solidFill>
                  <a:srgbClr val="000000"/>
                </a:solidFill>
              </a:rPr>
              <a:t>March 14, 2024</a:t>
            </a:fld>
            <a:endParaRPr lang="en-US">
              <a:solidFill>
                <a:srgbClr val="000000"/>
              </a:solidFill>
            </a:endParaRPr>
          </a:p>
        </p:txBody>
      </p:sp>
      <p:sp>
        <p:nvSpPr>
          <p:cNvPr id="6" name="Footer Placeholder 4">
            <a:extLst>
              <a:ext uri="{FF2B5EF4-FFF2-40B4-BE49-F238E27FC236}">
                <a16:creationId xmlns:a16="http://schemas.microsoft.com/office/drawing/2014/main" id="{E3DC4F73-7AC9-284C-9291-17EF4AD4D1CD}"/>
              </a:ext>
            </a:extLst>
          </p:cNvPr>
          <p:cNvSpPr>
            <a:spLocks noGrp="1"/>
          </p:cNvSpPr>
          <p:nvPr>
            <p:ph type="ftr" sz="quarter" idx="3"/>
          </p:nvPr>
        </p:nvSpPr>
        <p:spPr>
          <a:xfrm>
            <a:off x="4019295" y="6356351"/>
            <a:ext cx="5974080" cy="365125"/>
          </a:xfrm>
          <a:prstGeom prst="rect">
            <a:avLst/>
          </a:prstGeom>
        </p:spPr>
        <p:txBody>
          <a:bodyPr vert="horz" lIns="0" tIns="45720" rIns="0" bIns="45720" rtlCol="0" anchor="b" anchorCtr="0"/>
          <a:lstStyle>
            <a:lvl1pPr algn="r">
              <a:defRPr sz="1333">
                <a:solidFill>
                  <a:schemeClr val="tx1"/>
                </a:solidFill>
                <a:latin typeface="Calibri" panose="020F0502020204030204" pitchFamily="34" charset="0"/>
                <a:cs typeface="Calibri" panose="020F0502020204030204" pitchFamily="34" charset="0"/>
              </a:defRPr>
            </a:lvl1pPr>
          </a:lstStyle>
          <a:p>
            <a:r>
              <a:rPr lang="en-US">
                <a:solidFill>
                  <a:srgbClr val="000000"/>
                </a:solidFill>
              </a:rPr>
              <a:t>Enter title via "insert&gt;header and footer&gt;footer" |</a:t>
            </a:r>
          </a:p>
        </p:txBody>
      </p:sp>
      <p:sp>
        <p:nvSpPr>
          <p:cNvPr id="7" name="Slide Number Placeholder 5">
            <a:extLst>
              <a:ext uri="{FF2B5EF4-FFF2-40B4-BE49-F238E27FC236}">
                <a16:creationId xmlns:a16="http://schemas.microsoft.com/office/drawing/2014/main" id="{8FBD14FA-68BC-0344-B66F-475B9A088CD8}"/>
              </a:ext>
            </a:extLst>
          </p:cNvPr>
          <p:cNvSpPr>
            <a:spLocks noGrp="1"/>
          </p:cNvSpPr>
          <p:nvPr>
            <p:ph type="sldNum" sz="quarter" idx="4"/>
          </p:nvPr>
        </p:nvSpPr>
        <p:spPr>
          <a:xfrm>
            <a:off x="11475053" y="6438012"/>
            <a:ext cx="390144" cy="283464"/>
          </a:xfrm>
          <a:prstGeom prst="rect">
            <a:avLst/>
          </a:prstGeom>
        </p:spPr>
        <p:txBody>
          <a:bodyPr vert="horz" lIns="0" tIns="45720" rIns="0" bIns="45720" rtlCol="0" anchor="b" anchorCtr="0"/>
          <a:lstStyle>
            <a:lvl1pPr algn="ctr">
              <a:defRPr sz="1333"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587194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0"/>
            <a:ext cx="10972800" cy="692299"/>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670560" y="1151068"/>
            <a:ext cx="10972800" cy="5065900"/>
          </a:xfrm>
        </p:spPr>
        <p:txBody>
          <a:bodyPr/>
          <a:lstStyle>
            <a:lvl2pPr>
              <a:defRPr/>
            </a:lvl2pPr>
            <a:lvl3pPr>
              <a:defRPr/>
            </a:lvl3pPr>
            <a:lvl4pPr>
              <a:defRPr/>
            </a:lvl4pPr>
            <a:lvl5pPr>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Tree>
    <p:extLst>
      <p:ext uri="{BB962C8B-B14F-4D97-AF65-F5344CB8AC3E}">
        <p14:creationId xmlns:p14="http://schemas.microsoft.com/office/powerpoint/2010/main" val="2732066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2800">
              <a:solidFill>
                <a:srgbClr val="FFFFFF"/>
              </a:solidFill>
              <a:latin typeface="Franklin Gothic Medium" panose="020B0603020102020204" pitchFamily="34" charset="0"/>
              <a:sym typeface="Franklin Gothic Medium" panose="020B0603020102020204" pitchFamily="34" charset="0"/>
            </a:endParaRPr>
          </a:p>
        </p:txBody>
      </p:sp>
      <p:pic>
        <p:nvPicPr>
          <p:cNvPr id="29" name="Image 6" descr="Lesotho_WHO_acknowledge-(2)-opt.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650499" y="2725433"/>
            <a:ext cx="10895845" cy="2954372"/>
          </a:xfrm>
          <a:prstGeom prst="rect">
            <a:avLst/>
          </a:prstGeom>
        </p:spPr>
      </p:pic>
      <p:sp>
        <p:nvSpPr>
          <p:cNvPr id="30" name="Rectangle 29"/>
          <p:cNvSpPr/>
          <p:nvPr/>
        </p:nvSpPr>
        <p:spPr>
          <a:xfrm>
            <a:off x="650499" y="5672667"/>
            <a:ext cx="10895845" cy="211666"/>
          </a:xfrm>
          <a:prstGeom prst="rect">
            <a:avLst/>
          </a:prstGeom>
          <a:solidFill>
            <a:srgbClr val="43ABB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defRPr/>
            </a:pPr>
            <a:endParaRPr lang="en-US" sz="1400" err="1">
              <a:solidFill>
                <a:srgbClr val="000000"/>
              </a:solidFill>
              <a:cs typeface="Arial" pitchFamily="34" charset="0"/>
            </a:endParaRPr>
          </a:p>
        </p:txBody>
      </p:sp>
      <p:sp>
        <p:nvSpPr>
          <p:cNvPr id="26" name="Subtitle 2"/>
          <p:cNvSpPr>
            <a:spLocks noGrp="1"/>
          </p:cNvSpPr>
          <p:nvPr>
            <p:ph type="subTitle" idx="1" hasCustomPrompt="1"/>
          </p:nvPr>
        </p:nvSpPr>
        <p:spPr bwMode="white">
          <a:xfrm>
            <a:off x="1282390" y="5119190"/>
            <a:ext cx="8875830" cy="436195"/>
          </a:xfrm>
          <a:prstGeom prst="rect">
            <a:avLst/>
          </a:prstGeom>
        </p:spPr>
        <p:txBody>
          <a:bodyPr anchor="ctr"/>
          <a:lstStyle>
            <a:lvl1pPr marL="0" indent="0" algn="l">
              <a:lnSpc>
                <a:spcPct val="110000"/>
              </a:lnSpc>
              <a:buNone/>
              <a:defRPr kumimoji="0" lang="en-US" sz="2400" b="0" i="0" u="none" strike="noStrike" kern="1200" cap="none" spc="0" normalizeH="0" baseline="0" dirty="0">
                <a:ln>
                  <a:noFill/>
                </a:ln>
                <a:solidFill>
                  <a:schemeClr val="bg1"/>
                </a:solidFill>
                <a:effectLst/>
                <a:uLnTx/>
                <a:uFillTx/>
                <a:latin typeface="Franklin Gothic Book"/>
                <a:ea typeface="+mj-ea"/>
                <a:cs typeface="Franklin Gothic Book"/>
                <a:sym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282391" y="4194742"/>
            <a:ext cx="8875829" cy="876710"/>
          </a:xfrm>
          <a:prstGeom prst="rect">
            <a:avLst/>
          </a:prstGeom>
        </p:spPr>
        <p:txBody>
          <a:bodyPr lIns="0" tIns="0" bIns="0" anchor="b">
            <a:normAutofit/>
          </a:bodyPr>
          <a:lstStyle>
            <a:lvl1pPr algn="l">
              <a:lnSpc>
                <a:spcPct val="93000"/>
              </a:lnSpc>
              <a:defRPr kumimoji="0" lang="en-US" sz="2800" b="0" i="0" u="none" strike="noStrike" kern="1200" cap="none" spc="0" normalizeH="0" baseline="0" dirty="0">
                <a:ln>
                  <a:noFill/>
                </a:ln>
                <a:solidFill>
                  <a:schemeClr val="bg1"/>
                </a:solidFill>
                <a:effectLst/>
                <a:uLnTx/>
                <a:uFillTx/>
                <a:latin typeface="Franklin Gothic Medium" panose="020B0603020102020204" pitchFamily="34" charset="0"/>
                <a:ea typeface="+mj-ea"/>
                <a:cs typeface="+mj-cs"/>
                <a:sym typeface="+mj-lt"/>
              </a:defRPr>
            </a:lvl1pPr>
          </a:lstStyle>
          <a:p>
            <a:r>
              <a:rPr lang="en-US"/>
              <a:t>Title in Title Case</a:t>
            </a:r>
          </a:p>
        </p:txBody>
      </p:sp>
      <p:grpSp>
        <p:nvGrpSpPr>
          <p:cNvPr id="16" name="Group 15"/>
          <p:cNvGrpSpPr/>
          <p:nvPr/>
        </p:nvGrpSpPr>
        <p:grpSpPr>
          <a:xfrm>
            <a:off x="5012098" y="292077"/>
            <a:ext cx="2127716" cy="2280707"/>
            <a:chOff x="5012098" y="292077"/>
            <a:chExt cx="2127716" cy="2280707"/>
          </a:xfrm>
        </p:grpSpPr>
        <p:pic>
          <p:nvPicPr>
            <p:cNvPr id="17"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2098" y="292077"/>
              <a:ext cx="2127716" cy="1209725"/>
            </a:xfrm>
            <a:prstGeom prst="rect">
              <a:avLst/>
            </a:prstGeom>
          </p:spPr>
        </p:pic>
        <p:pic>
          <p:nvPicPr>
            <p:cNvPr id="19" name="Image 15" descr="baseline-FIND-Office.em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73651" y="1624575"/>
              <a:ext cx="2057696" cy="948209"/>
            </a:xfrm>
            <a:prstGeom prst="rect">
              <a:avLst/>
            </a:prstGeom>
          </p:spPr>
        </p:pic>
      </p:grpSp>
      <p:sp>
        <p:nvSpPr>
          <p:cNvPr id="22" name="Text Placeholder 6"/>
          <p:cNvSpPr>
            <a:spLocks noGrp="1"/>
          </p:cNvSpPr>
          <p:nvPr>
            <p:ph type="body" sz="quarter" idx="12" hasCustomPrompt="1"/>
          </p:nvPr>
        </p:nvSpPr>
        <p:spPr bwMode="black">
          <a:xfrm>
            <a:off x="1282391" y="6036334"/>
            <a:ext cx="7079343"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kumimoji="0" lang="en-US" sz="1800" b="0" i="0" u="none" strike="noStrike" cap="none" spc="0" normalizeH="0" baseline="0" dirty="0">
                <a:ln>
                  <a:noFill/>
                </a:ln>
                <a:solidFill>
                  <a:srgbClr val="8C9EAB"/>
                </a:solidFill>
                <a:effectLst/>
                <a:uLnTx/>
                <a:uFillTx/>
                <a:latin typeface="Arial"/>
              </a:defRPr>
            </a:lvl1pPr>
          </a:lstStyle>
          <a:p>
            <a:pPr marR="0" lvl="0" fontAlgn="base">
              <a:lnSpc>
                <a:spcPct val="100000"/>
              </a:lnSpc>
              <a:spcBef>
                <a:spcPct val="20000"/>
              </a:spcBef>
              <a:spcAft>
                <a:spcPct val="0"/>
              </a:spcAft>
              <a:buClr>
                <a:srgbClr val="43ABB6"/>
              </a:buClr>
              <a:buSzTx/>
              <a:buFontTx/>
              <a:buNone/>
              <a:tabLst/>
            </a:pPr>
            <a:r>
              <a:rPr lang="en-US"/>
              <a:t>Click to edit date/place</a:t>
            </a:r>
          </a:p>
        </p:txBody>
      </p:sp>
    </p:spTree>
    <p:extLst>
      <p:ext uri="{BB962C8B-B14F-4D97-AF65-F5344CB8AC3E}">
        <p14:creationId xmlns:p14="http://schemas.microsoft.com/office/powerpoint/2010/main" val="19828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7ECA6A01-5C51-3A47-A141-0AF7735EC260}" type="datetime1">
              <a:rPr lang="en-IN" smtClean="0">
                <a:solidFill>
                  <a:srgbClr val="FFFFFF">
                    <a:lumMod val="50000"/>
                  </a:srgbClr>
                </a:solidFill>
              </a:rPr>
              <a:pPr/>
              <a:t>14-03-2024</a:t>
            </a:fld>
            <a:endParaRPr lang="en-US">
              <a:solidFill>
                <a:srgbClr val="FFFFFF">
                  <a:lumMod val="50000"/>
                </a:srgbClr>
              </a:solidFill>
            </a:endParaRPr>
          </a:p>
        </p:txBody>
      </p:sp>
      <p:sp>
        <p:nvSpPr>
          <p:cNvPr id="6"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pic>
        <p:nvPicPr>
          <p:cNvPr id="11" name="Image 9" descr="logo-FIND-Office.wm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577" y="554180"/>
            <a:ext cx="1410659" cy="802038"/>
          </a:xfrm>
          <a:prstGeom prst="rect">
            <a:avLst/>
          </a:prstGeom>
        </p:spPr>
      </p:pic>
      <p:sp>
        <p:nvSpPr>
          <p:cNvPr id="5" name="Title 4"/>
          <p:cNvSpPr>
            <a:spLocks noGrp="1"/>
          </p:cNvSpPr>
          <p:nvPr>
            <p:ph type="title"/>
          </p:nvPr>
        </p:nvSpPr>
        <p:spPr>
          <a:xfrm>
            <a:off x="1672683" y="484301"/>
            <a:ext cx="9902282" cy="941796"/>
          </a:xfrm>
        </p:spPr>
        <p:txBody>
          <a:bodyPr anchor="t">
            <a:noAutofit/>
          </a:bodyPr>
          <a:lstStyle>
            <a:lvl1pPr>
              <a:defRPr sz="3400" baseline="0"/>
            </a:lvl1pPr>
          </a:lstStyle>
          <a:p>
            <a:r>
              <a:rPr lang="en-US"/>
              <a:t>Click to edit Master title style</a:t>
            </a:r>
          </a:p>
        </p:txBody>
      </p:sp>
    </p:spTree>
    <p:extLst>
      <p:ext uri="{BB962C8B-B14F-4D97-AF65-F5344CB8AC3E}">
        <p14:creationId xmlns:p14="http://schemas.microsoft.com/office/powerpoint/2010/main" val="2058429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fld id="{C861C253-67F6-A745-810F-6A21A7654132}" type="datetime1">
              <a:rPr lang="en-IN" smtClean="0">
                <a:solidFill>
                  <a:srgbClr val="FFFFFF">
                    <a:lumMod val="50000"/>
                  </a:srgbClr>
                </a:solidFill>
              </a:rPr>
              <a:pPr/>
              <a:t>14-03-2024</a:t>
            </a:fld>
            <a:endParaRPr lang="en-US">
              <a:solidFill>
                <a:srgbClr val="FFFFFF">
                  <a:lumMod val="50000"/>
                </a:srgb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0"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176532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ts val="6000"/>
              </a:lnSpc>
              <a:spcBef>
                <a:spcPct val="0"/>
              </a:spcBef>
              <a:spcAft>
                <a:spcPct val="0"/>
              </a:spcAft>
            </a:pPr>
            <a:endParaRPr lang="en-US" sz="5400">
              <a:solidFill>
                <a:srgbClr val="FFFFFF"/>
              </a:solidFill>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6D9A2537-C367-D04B-BFD5-BEA4502AEFE3}" type="datetime1">
              <a:rPr lang="en-IN" smtClean="0">
                <a:solidFill>
                  <a:srgbClr val="FFFFFF"/>
                </a:solidFill>
              </a:rPr>
              <a:pPr/>
              <a:t>14-03-2024</a:t>
            </a:fld>
            <a:endParaRPr lang="en-US">
              <a:solidFill>
                <a:srgbClr val="FFFFFF"/>
              </a:solidFill>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9"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032352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5400">
              <a:solidFill>
                <a:srgbClr val="FFFFFF"/>
              </a:solidFill>
              <a:sym typeface="Arial" panose="020B0604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7CE32ADE-EF0A-0A40-9DD0-9CEABD90B7AA}" type="datetime1">
              <a:rPr lang="en-IN" smtClean="0">
                <a:solidFill>
                  <a:srgbClr val="FFFFFF"/>
                </a:solidFill>
              </a:rPr>
              <a:pPr/>
              <a:t>14-03-2024</a:t>
            </a:fld>
            <a:endParaRPr lang="en-US">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9514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White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pic>
        <p:nvPicPr>
          <p:cNvPr id="16" name="Picture 15"/>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EEF2CAD7-1138-914C-A913-A83E53CBA23B}" type="datetime1">
              <a:rPr lang="en-IN" smtClean="0">
                <a:solidFill>
                  <a:srgbClr val="FFFFFF"/>
                </a:solidFill>
              </a:rPr>
              <a:pPr/>
              <a:t>14-03-2024</a:t>
            </a:fld>
            <a:endParaRPr lang="en-US">
              <a:solidFill>
                <a:srgbClr val="FFFFFF"/>
              </a:solidFill>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accent6"/>
                </a:solidFill>
                <a:latin typeface="+mj-lt"/>
                <a:ea typeface="+mj-ea"/>
                <a:cs typeface="+mj-cs"/>
                <a:sym typeface="+mj-lt"/>
              </a:defRPr>
            </a:lvl1pPr>
          </a:lstStyle>
          <a:p>
            <a:r>
              <a:rPr lang="en-US"/>
              <a:t>Click to add title</a:t>
            </a: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Tree>
    <p:extLst>
      <p:ext uri="{BB962C8B-B14F-4D97-AF65-F5344CB8AC3E}">
        <p14:creationId xmlns:p14="http://schemas.microsoft.com/office/powerpoint/2010/main" val="417163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Green highlight">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fld id="{1D793780-B916-3E4B-B699-CB1B14483207}" type="datetime1">
              <a:rPr lang="en-IN" smtClean="0">
                <a:solidFill>
                  <a:srgbClr val="FFFFFF"/>
                </a:solidFill>
              </a:rPr>
              <a:pPr/>
              <a:t>14-03-2024</a:t>
            </a:fld>
            <a:endParaRPr lang="en-US">
              <a:solidFill>
                <a:srgbClr val="FFFFFF"/>
              </a:solidFill>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mn-lt"/>
              </a:rPr>
              <a:pPr algn="r">
                <a:defRPr/>
              </a:pPr>
              <a:t>‹#›</a:t>
            </a:fld>
            <a:endParaRPr lang="en-US" sz="1000">
              <a:solidFill>
                <a:srgbClr val="FFFFFF"/>
              </a:solidFill>
              <a:sym typeface="+mn-lt"/>
            </a:endParaRPr>
          </a:p>
        </p:txBody>
      </p:sp>
      <p:sp>
        <p:nvSpPr>
          <p:cNvPr id="11"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mn-lt"/>
              </a:rPr>
              <a:t>Lunch discussion handout v2.pptx</a:t>
            </a:r>
          </a:p>
        </p:txBody>
      </p:sp>
      <p:sp>
        <p:nvSpPr>
          <p:cNvPr id="4" name="Title 3"/>
          <p:cNvSpPr>
            <a:spLocks noGrp="1"/>
          </p:cNvSpPr>
          <p:nvPr>
            <p:ph type="title"/>
          </p:nvPr>
        </p:nvSpPr>
        <p:spPr>
          <a:xfrm>
            <a:off x="630000" y="484301"/>
            <a:ext cx="6392592" cy="941796"/>
          </a:xfrm>
        </p:spPr>
        <p:txBody>
          <a:bodyPr anchor="t"/>
          <a:lstStyle>
            <a:lvl1pPr>
              <a:defRPr sz="3400"/>
            </a:lvl1pPr>
          </a:lstStyle>
          <a:p>
            <a:r>
              <a:rPr lang="en-US"/>
              <a:t>Click to edit Master title style</a:t>
            </a:r>
          </a:p>
        </p:txBody>
      </p:sp>
    </p:spTree>
    <p:extLst>
      <p:ext uri="{BB962C8B-B14F-4D97-AF65-F5344CB8AC3E}">
        <p14:creationId xmlns:p14="http://schemas.microsoft.com/office/powerpoint/2010/main" val="1528889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een one third">
    <p:bg>
      <p:bgPr>
        <a:gradFill>
          <a:gsLst>
            <a:gs pos="0">
              <a:schemeClr val="accent6"/>
            </a:gs>
            <a:gs pos="100000">
              <a:schemeClr val="accent6"/>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a:solidFill>
                <a:srgbClr val="FFFFFF"/>
              </a:solidFill>
              <a:latin typeface="Franklin Gothic Medium" panose="020B0603020102020204" pitchFamily="34" charset="0"/>
              <a:sym typeface="Franklin Gothic Medium" panose="020B0603020102020204" pitchFamily="34" charset="0"/>
            </a:endParaRPr>
          </a:p>
        </p:txBody>
      </p:sp>
      <p:pic>
        <p:nvPicPr>
          <p:cNvPr id="10" name="Picture 9"/>
          <p:cNvPicPr>
            <a:picLocks noChangeAspect="1"/>
          </p:cNvPicPr>
          <p:nvPr/>
        </p:nvPicPr>
        <p:blipFill rotWithShape="1">
          <a:blip r:embed="rId7"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4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1C190436-DB68-E140-9DD1-0ED093BC709E}" type="datetime1">
              <a:rPr lang="en-IN" smtClean="0">
                <a:solidFill>
                  <a:srgbClr val="FFFFFF">
                    <a:lumMod val="50000"/>
                  </a:srgbClr>
                </a:solidFill>
              </a:rPr>
              <a:pPr/>
              <a:t>14-03-2024</a:t>
            </a:fld>
            <a:endParaRPr lang="en-US">
              <a:solidFill>
                <a:srgbClr val="FFFFFF">
                  <a:lumMod val="50000"/>
                </a:srgbClr>
              </a:solidFill>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14" name="FooterSimple" hidden="1"/>
          <p:cNvSpPr txBox="1"/>
          <p:nvPr>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mn-lt"/>
              </a:rPr>
              <a:t>Lunch discussion handout v2.pptx</a:t>
            </a:r>
          </a:p>
        </p:txBody>
      </p:sp>
    </p:spTree>
    <p:extLst>
      <p:ext uri="{BB962C8B-B14F-4D97-AF65-F5344CB8AC3E}">
        <p14:creationId xmlns:p14="http://schemas.microsoft.com/office/powerpoint/2010/main" val="2796198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tags" Target="../tags/tag562.xml"/><Relationship Id="rId18" Type="http://schemas.openxmlformats.org/officeDocument/2006/relationships/tags" Target="../tags/tag567.xml"/><Relationship Id="rId26" Type="http://schemas.openxmlformats.org/officeDocument/2006/relationships/tags" Target="../tags/tag575.xml"/><Relationship Id="rId39" Type="http://schemas.openxmlformats.org/officeDocument/2006/relationships/tags" Target="../tags/tag588.xml"/><Relationship Id="rId21" Type="http://schemas.openxmlformats.org/officeDocument/2006/relationships/tags" Target="../tags/tag570.xml"/><Relationship Id="rId34" Type="http://schemas.openxmlformats.org/officeDocument/2006/relationships/tags" Target="../tags/tag583.xml"/><Relationship Id="rId42" Type="http://schemas.openxmlformats.org/officeDocument/2006/relationships/tags" Target="../tags/tag591.xml"/><Relationship Id="rId7" Type="http://schemas.openxmlformats.org/officeDocument/2006/relationships/theme" Target="../theme/theme10.xml"/><Relationship Id="rId2" Type="http://schemas.openxmlformats.org/officeDocument/2006/relationships/slideLayout" Target="../slideLayouts/slideLayout256.xml"/><Relationship Id="rId16" Type="http://schemas.openxmlformats.org/officeDocument/2006/relationships/tags" Target="../tags/tag565.xml"/><Relationship Id="rId29" Type="http://schemas.openxmlformats.org/officeDocument/2006/relationships/tags" Target="../tags/tag578.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tags" Target="../tags/tag560.xml"/><Relationship Id="rId24" Type="http://schemas.openxmlformats.org/officeDocument/2006/relationships/tags" Target="../tags/tag573.xml"/><Relationship Id="rId32" Type="http://schemas.openxmlformats.org/officeDocument/2006/relationships/tags" Target="../tags/tag581.xml"/><Relationship Id="rId37" Type="http://schemas.openxmlformats.org/officeDocument/2006/relationships/tags" Target="../tags/tag586.xml"/><Relationship Id="rId40" Type="http://schemas.openxmlformats.org/officeDocument/2006/relationships/tags" Target="../tags/tag589.xml"/><Relationship Id="rId45" Type="http://schemas.openxmlformats.org/officeDocument/2006/relationships/image" Target="../media/image38.jpeg"/><Relationship Id="rId5" Type="http://schemas.openxmlformats.org/officeDocument/2006/relationships/slideLayout" Target="../slideLayouts/slideLayout259.xml"/><Relationship Id="rId15" Type="http://schemas.openxmlformats.org/officeDocument/2006/relationships/tags" Target="../tags/tag564.xml"/><Relationship Id="rId23" Type="http://schemas.openxmlformats.org/officeDocument/2006/relationships/tags" Target="../tags/tag572.xml"/><Relationship Id="rId28" Type="http://schemas.openxmlformats.org/officeDocument/2006/relationships/tags" Target="../tags/tag577.xml"/><Relationship Id="rId36" Type="http://schemas.openxmlformats.org/officeDocument/2006/relationships/tags" Target="../tags/tag585.xml"/><Relationship Id="rId10" Type="http://schemas.openxmlformats.org/officeDocument/2006/relationships/tags" Target="../tags/tag559.xml"/><Relationship Id="rId19" Type="http://schemas.openxmlformats.org/officeDocument/2006/relationships/tags" Target="../tags/tag568.xml"/><Relationship Id="rId31" Type="http://schemas.openxmlformats.org/officeDocument/2006/relationships/tags" Target="../tags/tag580.xml"/><Relationship Id="rId44" Type="http://schemas.openxmlformats.org/officeDocument/2006/relationships/image" Target="../media/image37.emf"/><Relationship Id="rId4" Type="http://schemas.openxmlformats.org/officeDocument/2006/relationships/slideLayout" Target="../slideLayouts/slideLayout258.xml"/><Relationship Id="rId9" Type="http://schemas.openxmlformats.org/officeDocument/2006/relationships/tags" Target="../tags/tag558.xml"/><Relationship Id="rId14" Type="http://schemas.openxmlformats.org/officeDocument/2006/relationships/tags" Target="../tags/tag563.xml"/><Relationship Id="rId22" Type="http://schemas.openxmlformats.org/officeDocument/2006/relationships/tags" Target="../tags/tag571.xml"/><Relationship Id="rId27" Type="http://schemas.openxmlformats.org/officeDocument/2006/relationships/tags" Target="../tags/tag576.xml"/><Relationship Id="rId30" Type="http://schemas.openxmlformats.org/officeDocument/2006/relationships/tags" Target="../tags/tag579.xml"/><Relationship Id="rId35" Type="http://schemas.openxmlformats.org/officeDocument/2006/relationships/tags" Target="../tags/tag584.xml"/><Relationship Id="rId43" Type="http://schemas.openxmlformats.org/officeDocument/2006/relationships/oleObject" Target="../embeddings/oleObject218.bin"/><Relationship Id="rId8" Type="http://schemas.openxmlformats.org/officeDocument/2006/relationships/tags" Target="../tags/tag557.xml"/><Relationship Id="rId3" Type="http://schemas.openxmlformats.org/officeDocument/2006/relationships/slideLayout" Target="../slideLayouts/slideLayout257.xml"/><Relationship Id="rId12" Type="http://schemas.openxmlformats.org/officeDocument/2006/relationships/tags" Target="../tags/tag561.xml"/><Relationship Id="rId17" Type="http://schemas.openxmlformats.org/officeDocument/2006/relationships/tags" Target="../tags/tag566.xml"/><Relationship Id="rId25" Type="http://schemas.openxmlformats.org/officeDocument/2006/relationships/tags" Target="../tags/tag574.xml"/><Relationship Id="rId33" Type="http://schemas.openxmlformats.org/officeDocument/2006/relationships/tags" Target="../tags/tag582.xml"/><Relationship Id="rId38" Type="http://schemas.openxmlformats.org/officeDocument/2006/relationships/tags" Target="../tags/tag587.xml"/><Relationship Id="rId20" Type="http://schemas.openxmlformats.org/officeDocument/2006/relationships/tags" Target="../tags/tag569.xml"/><Relationship Id="rId41" Type="http://schemas.openxmlformats.org/officeDocument/2006/relationships/tags" Target="../tags/tag59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tags" Target="../tags/tag600.xml"/><Relationship Id="rId3" Type="http://schemas.openxmlformats.org/officeDocument/2006/relationships/slideLayout" Target="../slideLayouts/slideLayout263.xml"/><Relationship Id="rId21" Type="http://schemas.openxmlformats.org/officeDocument/2006/relationships/image" Target="../media/image6.emf"/><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theme" Target="../theme/theme11.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oleObject" Target="../embeddings/oleObject223.bin"/><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19" Type="http://schemas.openxmlformats.org/officeDocument/2006/relationships/tags" Target="../tags/tag601.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image" Target="../media/image4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oleObject" Target="../embeddings/oleObject229.bin"/><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tags" Target="../tags/tag608.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tags" Target="../tags/tag607.xml"/><Relationship Id="rId5" Type="http://schemas.openxmlformats.org/officeDocument/2006/relationships/slideLayout" Target="../slideLayouts/slideLayout281.xml"/><Relationship Id="rId15" Type="http://schemas.openxmlformats.org/officeDocument/2006/relationships/image" Target="../media/image43.png"/><Relationship Id="rId10" Type="http://schemas.openxmlformats.org/officeDocument/2006/relationships/theme" Target="../theme/theme12.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image" Target="../media/image6.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image" Target="../media/image45.png"/><Relationship Id="rId3" Type="http://schemas.openxmlformats.org/officeDocument/2006/relationships/slideLayout" Target="../slideLayouts/slideLayout288.xml"/><Relationship Id="rId7" Type="http://schemas.openxmlformats.org/officeDocument/2006/relationships/slideLayout" Target="../slideLayouts/slideLayout292.xml"/><Relationship Id="rId12" Type="http://schemas.openxmlformats.org/officeDocument/2006/relationships/theme" Target="../theme/theme13.xml"/><Relationship Id="rId2" Type="http://schemas.openxmlformats.org/officeDocument/2006/relationships/slideLayout" Target="../slideLayouts/slideLayout287.xml"/><Relationship Id="rId16" Type="http://schemas.openxmlformats.org/officeDocument/2006/relationships/image" Target="../media/image48.png"/><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5" Type="http://schemas.openxmlformats.org/officeDocument/2006/relationships/slideLayout" Target="../slideLayouts/slideLayout290.xml"/><Relationship Id="rId15" Type="http://schemas.openxmlformats.org/officeDocument/2006/relationships/image" Target="../media/image47.jpeg"/><Relationship Id="rId10" Type="http://schemas.openxmlformats.org/officeDocument/2006/relationships/slideLayout" Target="../slideLayouts/slideLayout295.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image" Target="../media/image46.png"/></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299.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theme" Target="../theme/theme14.xml"/><Relationship Id="rId5" Type="http://schemas.openxmlformats.org/officeDocument/2006/relationships/slideLayout" Target="../slideLayouts/slideLayout301.xml"/><Relationship Id="rId4" Type="http://schemas.openxmlformats.org/officeDocument/2006/relationships/slideLayout" Target="../slideLayouts/slideLayout300.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327.xml"/><Relationship Id="rId21" Type="http://schemas.openxmlformats.org/officeDocument/2006/relationships/slideLayout" Target="../slideLayouts/slideLayout322.xml"/><Relationship Id="rId42" Type="http://schemas.openxmlformats.org/officeDocument/2006/relationships/slideLayout" Target="../slideLayouts/slideLayout343.xml"/><Relationship Id="rId47" Type="http://schemas.openxmlformats.org/officeDocument/2006/relationships/slideLayout" Target="../slideLayouts/slideLayout348.xml"/><Relationship Id="rId63" Type="http://schemas.openxmlformats.org/officeDocument/2006/relationships/slideLayout" Target="../slideLayouts/slideLayout364.xml"/><Relationship Id="rId68" Type="http://schemas.openxmlformats.org/officeDocument/2006/relationships/slideLayout" Target="../slideLayouts/slideLayout369.xml"/><Relationship Id="rId84" Type="http://schemas.openxmlformats.org/officeDocument/2006/relationships/tags" Target="../tags/tag624.xml"/><Relationship Id="rId89" Type="http://schemas.openxmlformats.org/officeDocument/2006/relationships/tags" Target="../tags/tag629.xml"/><Relationship Id="rId16" Type="http://schemas.openxmlformats.org/officeDocument/2006/relationships/slideLayout" Target="../slideLayouts/slideLayout317.xml"/><Relationship Id="rId107" Type="http://schemas.openxmlformats.org/officeDocument/2006/relationships/oleObject" Target="../embeddings/oleObject233.bin"/><Relationship Id="rId11" Type="http://schemas.openxmlformats.org/officeDocument/2006/relationships/slideLayout" Target="../slideLayouts/slideLayout312.xml"/><Relationship Id="rId32" Type="http://schemas.openxmlformats.org/officeDocument/2006/relationships/slideLayout" Target="../slideLayouts/slideLayout333.xml"/><Relationship Id="rId37" Type="http://schemas.openxmlformats.org/officeDocument/2006/relationships/slideLayout" Target="../slideLayouts/slideLayout338.xml"/><Relationship Id="rId53" Type="http://schemas.openxmlformats.org/officeDocument/2006/relationships/slideLayout" Target="../slideLayouts/slideLayout354.xml"/><Relationship Id="rId58" Type="http://schemas.openxmlformats.org/officeDocument/2006/relationships/slideLayout" Target="../slideLayouts/slideLayout359.xml"/><Relationship Id="rId74" Type="http://schemas.openxmlformats.org/officeDocument/2006/relationships/tags" Target="../tags/tag614.xml"/><Relationship Id="rId79" Type="http://schemas.openxmlformats.org/officeDocument/2006/relationships/tags" Target="../tags/tag619.xml"/><Relationship Id="rId102" Type="http://schemas.openxmlformats.org/officeDocument/2006/relationships/tags" Target="../tags/tag642.xml"/><Relationship Id="rId5" Type="http://schemas.openxmlformats.org/officeDocument/2006/relationships/slideLayout" Target="../slideLayouts/slideLayout306.xml"/><Relationship Id="rId90" Type="http://schemas.openxmlformats.org/officeDocument/2006/relationships/tags" Target="../tags/tag630.xml"/><Relationship Id="rId95" Type="http://schemas.openxmlformats.org/officeDocument/2006/relationships/tags" Target="../tags/tag63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43" Type="http://schemas.openxmlformats.org/officeDocument/2006/relationships/slideLayout" Target="../slideLayouts/slideLayout344.xml"/><Relationship Id="rId48" Type="http://schemas.openxmlformats.org/officeDocument/2006/relationships/slideLayout" Target="../slideLayouts/slideLayout349.xml"/><Relationship Id="rId64" Type="http://schemas.openxmlformats.org/officeDocument/2006/relationships/slideLayout" Target="../slideLayouts/slideLayout365.xml"/><Relationship Id="rId69" Type="http://schemas.openxmlformats.org/officeDocument/2006/relationships/slideLayout" Target="../slideLayouts/slideLayout370.xml"/><Relationship Id="rId80" Type="http://schemas.openxmlformats.org/officeDocument/2006/relationships/tags" Target="../tags/tag620.xml"/><Relationship Id="rId85" Type="http://schemas.openxmlformats.org/officeDocument/2006/relationships/tags" Target="../tags/tag625.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33" Type="http://schemas.openxmlformats.org/officeDocument/2006/relationships/slideLayout" Target="../slideLayouts/slideLayout334.xml"/><Relationship Id="rId38" Type="http://schemas.openxmlformats.org/officeDocument/2006/relationships/slideLayout" Target="../slideLayouts/slideLayout339.xml"/><Relationship Id="rId59" Type="http://schemas.openxmlformats.org/officeDocument/2006/relationships/slideLayout" Target="../slideLayouts/slideLayout360.xml"/><Relationship Id="rId103" Type="http://schemas.openxmlformats.org/officeDocument/2006/relationships/tags" Target="../tags/tag643.xml"/><Relationship Id="rId108" Type="http://schemas.openxmlformats.org/officeDocument/2006/relationships/image" Target="../media/image37.emf"/><Relationship Id="rId20" Type="http://schemas.openxmlformats.org/officeDocument/2006/relationships/slideLayout" Target="../slideLayouts/slideLayout321.xml"/><Relationship Id="rId41" Type="http://schemas.openxmlformats.org/officeDocument/2006/relationships/slideLayout" Target="../slideLayouts/slideLayout342.xml"/><Relationship Id="rId54" Type="http://schemas.openxmlformats.org/officeDocument/2006/relationships/slideLayout" Target="../slideLayouts/slideLayout355.xml"/><Relationship Id="rId62" Type="http://schemas.openxmlformats.org/officeDocument/2006/relationships/slideLayout" Target="../slideLayouts/slideLayout363.xml"/><Relationship Id="rId70" Type="http://schemas.openxmlformats.org/officeDocument/2006/relationships/slideLayout" Target="../slideLayouts/slideLayout371.xml"/><Relationship Id="rId75" Type="http://schemas.openxmlformats.org/officeDocument/2006/relationships/tags" Target="../tags/tag615.xml"/><Relationship Id="rId83" Type="http://schemas.openxmlformats.org/officeDocument/2006/relationships/tags" Target="../tags/tag623.xml"/><Relationship Id="rId88" Type="http://schemas.openxmlformats.org/officeDocument/2006/relationships/tags" Target="../tags/tag628.xml"/><Relationship Id="rId91" Type="http://schemas.openxmlformats.org/officeDocument/2006/relationships/tags" Target="../tags/tag631.xml"/><Relationship Id="rId96" Type="http://schemas.openxmlformats.org/officeDocument/2006/relationships/tags" Target="../tags/tag636.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slideLayout" Target="../slideLayouts/slideLayout337.xml"/><Relationship Id="rId49" Type="http://schemas.openxmlformats.org/officeDocument/2006/relationships/slideLayout" Target="../slideLayouts/slideLayout350.xml"/><Relationship Id="rId57" Type="http://schemas.openxmlformats.org/officeDocument/2006/relationships/slideLayout" Target="../slideLayouts/slideLayout358.xml"/><Relationship Id="rId106" Type="http://schemas.openxmlformats.org/officeDocument/2006/relationships/tags" Target="../tags/tag646.xml"/><Relationship Id="rId10" Type="http://schemas.openxmlformats.org/officeDocument/2006/relationships/slideLayout" Target="../slideLayouts/slideLayout311.xml"/><Relationship Id="rId31" Type="http://schemas.openxmlformats.org/officeDocument/2006/relationships/slideLayout" Target="../slideLayouts/slideLayout332.xml"/><Relationship Id="rId44" Type="http://schemas.openxmlformats.org/officeDocument/2006/relationships/slideLayout" Target="../slideLayouts/slideLayout345.xml"/><Relationship Id="rId52" Type="http://schemas.openxmlformats.org/officeDocument/2006/relationships/slideLayout" Target="../slideLayouts/slideLayout353.xml"/><Relationship Id="rId60" Type="http://schemas.openxmlformats.org/officeDocument/2006/relationships/slideLayout" Target="../slideLayouts/slideLayout361.xml"/><Relationship Id="rId65" Type="http://schemas.openxmlformats.org/officeDocument/2006/relationships/slideLayout" Target="../slideLayouts/slideLayout366.xml"/><Relationship Id="rId73" Type="http://schemas.openxmlformats.org/officeDocument/2006/relationships/tags" Target="../tags/tag613.xml"/><Relationship Id="rId78" Type="http://schemas.openxmlformats.org/officeDocument/2006/relationships/tags" Target="../tags/tag618.xml"/><Relationship Id="rId81" Type="http://schemas.openxmlformats.org/officeDocument/2006/relationships/tags" Target="../tags/tag621.xml"/><Relationship Id="rId86" Type="http://schemas.openxmlformats.org/officeDocument/2006/relationships/tags" Target="../tags/tag626.xml"/><Relationship Id="rId94" Type="http://schemas.openxmlformats.org/officeDocument/2006/relationships/tags" Target="../tags/tag634.xml"/><Relationship Id="rId99" Type="http://schemas.openxmlformats.org/officeDocument/2006/relationships/tags" Target="../tags/tag639.xml"/><Relationship Id="rId101" Type="http://schemas.openxmlformats.org/officeDocument/2006/relationships/tags" Target="../tags/tag64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39" Type="http://schemas.openxmlformats.org/officeDocument/2006/relationships/slideLayout" Target="../slideLayouts/slideLayout340.xml"/><Relationship Id="rId34" Type="http://schemas.openxmlformats.org/officeDocument/2006/relationships/slideLayout" Target="../slideLayouts/slideLayout335.xml"/><Relationship Id="rId50" Type="http://schemas.openxmlformats.org/officeDocument/2006/relationships/slideLayout" Target="../slideLayouts/slideLayout351.xml"/><Relationship Id="rId55" Type="http://schemas.openxmlformats.org/officeDocument/2006/relationships/slideLayout" Target="../slideLayouts/slideLayout356.xml"/><Relationship Id="rId76" Type="http://schemas.openxmlformats.org/officeDocument/2006/relationships/tags" Target="../tags/tag616.xml"/><Relationship Id="rId97" Type="http://schemas.openxmlformats.org/officeDocument/2006/relationships/tags" Target="../tags/tag637.xml"/><Relationship Id="rId104" Type="http://schemas.openxmlformats.org/officeDocument/2006/relationships/tags" Target="../tags/tag644.xml"/><Relationship Id="rId7" Type="http://schemas.openxmlformats.org/officeDocument/2006/relationships/slideLayout" Target="../slideLayouts/slideLayout308.xml"/><Relationship Id="rId71" Type="http://schemas.openxmlformats.org/officeDocument/2006/relationships/theme" Target="../theme/theme15.xml"/><Relationship Id="rId92" Type="http://schemas.openxmlformats.org/officeDocument/2006/relationships/tags" Target="../tags/tag632.xml"/><Relationship Id="rId2" Type="http://schemas.openxmlformats.org/officeDocument/2006/relationships/slideLayout" Target="../slideLayouts/slideLayout303.xml"/><Relationship Id="rId29" Type="http://schemas.openxmlformats.org/officeDocument/2006/relationships/slideLayout" Target="../slideLayouts/slideLayout330.xml"/><Relationship Id="rId24" Type="http://schemas.openxmlformats.org/officeDocument/2006/relationships/slideLayout" Target="../slideLayouts/slideLayout325.xml"/><Relationship Id="rId40" Type="http://schemas.openxmlformats.org/officeDocument/2006/relationships/slideLayout" Target="../slideLayouts/slideLayout341.xml"/><Relationship Id="rId45" Type="http://schemas.openxmlformats.org/officeDocument/2006/relationships/slideLayout" Target="../slideLayouts/slideLayout346.xml"/><Relationship Id="rId66" Type="http://schemas.openxmlformats.org/officeDocument/2006/relationships/slideLayout" Target="../slideLayouts/slideLayout367.xml"/><Relationship Id="rId87" Type="http://schemas.openxmlformats.org/officeDocument/2006/relationships/tags" Target="../tags/tag627.xml"/><Relationship Id="rId61" Type="http://schemas.openxmlformats.org/officeDocument/2006/relationships/slideLayout" Target="../slideLayouts/slideLayout362.xml"/><Relationship Id="rId82" Type="http://schemas.openxmlformats.org/officeDocument/2006/relationships/tags" Target="../tags/tag622.xml"/><Relationship Id="rId19" Type="http://schemas.openxmlformats.org/officeDocument/2006/relationships/slideLayout" Target="../slideLayouts/slideLayout320.xml"/><Relationship Id="rId14" Type="http://schemas.openxmlformats.org/officeDocument/2006/relationships/slideLayout" Target="../slideLayouts/slideLayout315.xml"/><Relationship Id="rId30" Type="http://schemas.openxmlformats.org/officeDocument/2006/relationships/slideLayout" Target="../slideLayouts/slideLayout331.xml"/><Relationship Id="rId35" Type="http://schemas.openxmlformats.org/officeDocument/2006/relationships/slideLayout" Target="../slideLayouts/slideLayout336.xml"/><Relationship Id="rId56" Type="http://schemas.openxmlformats.org/officeDocument/2006/relationships/slideLayout" Target="../slideLayouts/slideLayout357.xml"/><Relationship Id="rId77" Type="http://schemas.openxmlformats.org/officeDocument/2006/relationships/tags" Target="../tags/tag617.xml"/><Relationship Id="rId100" Type="http://schemas.openxmlformats.org/officeDocument/2006/relationships/tags" Target="../tags/tag640.xml"/><Relationship Id="rId105" Type="http://schemas.openxmlformats.org/officeDocument/2006/relationships/tags" Target="../tags/tag645.xml"/><Relationship Id="rId8" Type="http://schemas.openxmlformats.org/officeDocument/2006/relationships/slideLayout" Target="../slideLayouts/slideLayout309.xml"/><Relationship Id="rId51" Type="http://schemas.openxmlformats.org/officeDocument/2006/relationships/slideLayout" Target="../slideLayouts/slideLayout352.xml"/><Relationship Id="rId72" Type="http://schemas.openxmlformats.org/officeDocument/2006/relationships/tags" Target="../tags/tag612.xml"/><Relationship Id="rId93" Type="http://schemas.openxmlformats.org/officeDocument/2006/relationships/tags" Target="../tags/tag633.xml"/><Relationship Id="rId98" Type="http://schemas.openxmlformats.org/officeDocument/2006/relationships/tags" Target="../tags/tag638.xml"/><Relationship Id="rId3" Type="http://schemas.openxmlformats.org/officeDocument/2006/relationships/slideLayout" Target="../slideLayouts/slideLayout304.xml"/><Relationship Id="rId25" Type="http://schemas.openxmlformats.org/officeDocument/2006/relationships/slideLayout" Target="../slideLayouts/slideLayout326.xml"/><Relationship Id="rId46" Type="http://schemas.openxmlformats.org/officeDocument/2006/relationships/slideLayout" Target="../slideLayouts/slideLayout347.xml"/><Relationship Id="rId67" Type="http://schemas.openxmlformats.org/officeDocument/2006/relationships/slideLayout" Target="../slideLayouts/slideLayout36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2.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6.emf"/><Relationship Id="rId2" Type="http://schemas.openxmlformats.org/officeDocument/2006/relationships/slideLayout" Target="../slideLayouts/slideLayout9.xml"/><Relationship Id="rId16"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ags" Target="../tags/tag1.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46.xml"/><Relationship Id="rId21" Type="http://schemas.openxmlformats.org/officeDocument/2006/relationships/slideLayout" Target="../slideLayouts/slideLayout41.xml"/><Relationship Id="rId42" Type="http://schemas.openxmlformats.org/officeDocument/2006/relationships/slideLayout" Target="../slideLayouts/slideLayout62.xml"/><Relationship Id="rId47" Type="http://schemas.openxmlformats.org/officeDocument/2006/relationships/slideLayout" Target="../slideLayouts/slideLayout67.xml"/><Relationship Id="rId63" Type="http://schemas.openxmlformats.org/officeDocument/2006/relationships/slideLayout" Target="../slideLayouts/slideLayout83.xml"/><Relationship Id="rId68" Type="http://schemas.openxmlformats.org/officeDocument/2006/relationships/slideLayout" Target="../slideLayouts/slideLayout88.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9" Type="http://schemas.openxmlformats.org/officeDocument/2006/relationships/slideLayout" Target="../slideLayouts/slideLayout49.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53" Type="http://schemas.openxmlformats.org/officeDocument/2006/relationships/slideLayout" Target="../slideLayouts/slideLayout73.xml"/><Relationship Id="rId58" Type="http://schemas.openxmlformats.org/officeDocument/2006/relationships/slideLayout" Target="../slideLayouts/slideLayout78.xml"/><Relationship Id="rId66" Type="http://schemas.openxmlformats.org/officeDocument/2006/relationships/slideLayout" Target="../slideLayouts/slideLayout86.xml"/><Relationship Id="rId74" Type="http://schemas.openxmlformats.org/officeDocument/2006/relationships/tags" Target="../tags/tag11.xml"/><Relationship Id="rId5" Type="http://schemas.openxmlformats.org/officeDocument/2006/relationships/slideLayout" Target="../slideLayouts/slideLayout25.xml"/><Relationship Id="rId61" Type="http://schemas.openxmlformats.org/officeDocument/2006/relationships/slideLayout" Target="../slideLayouts/slideLayout81.xml"/><Relationship Id="rId19" Type="http://schemas.openxmlformats.org/officeDocument/2006/relationships/slideLayout" Target="../slideLayouts/slideLayout3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 Id="rId48" Type="http://schemas.openxmlformats.org/officeDocument/2006/relationships/slideLayout" Target="../slideLayouts/slideLayout68.xml"/><Relationship Id="rId56" Type="http://schemas.openxmlformats.org/officeDocument/2006/relationships/slideLayout" Target="../slideLayouts/slideLayout76.xml"/><Relationship Id="rId64" Type="http://schemas.openxmlformats.org/officeDocument/2006/relationships/slideLayout" Target="../slideLayouts/slideLayout84.xml"/><Relationship Id="rId69" Type="http://schemas.openxmlformats.org/officeDocument/2006/relationships/slideLayout" Target="../slideLayouts/slideLayout89.xml"/><Relationship Id="rId8" Type="http://schemas.openxmlformats.org/officeDocument/2006/relationships/slideLayout" Target="../slideLayouts/slideLayout28.xml"/><Relationship Id="rId51" Type="http://schemas.openxmlformats.org/officeDocument/2006/relationships/slideLayout" Target="../slideLayouts/slideLayout71.xml"/><Relationship Id="rId72" Type="http://schemas.openxmlformats.org/officeDocument/2006/relationships/theme" Target="../theme/theme4.xml"/><Relationship Id="rId3" Type="http://schemas.openxmlformats.org/officeDocument/2006/relationships/slideLayout" Target="../slideLayouts/slideLayout23.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46" Type="http://schemas.openxmlformats.org/officeDocument/2006/relationships/slideLayout" Target="../slideLayouts/slideLayout66.xml"/><Relationship Id="rId59" Type="http://schemas.openxmlformats.org/officeDocument/2006/relationships/slideLayout" Target="../slideLayouts/slideLayout79.xml"/><Relationship Id="rId67" Type="http://schemas.openxmlformats.org/officeDocument/2006/relationships/slideLayout" Target="../slideLayouts/slideLayout87.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54" Type="http://schemas.openxmlformats.org/officeDocument/2006/relationships/slideLayout" Target="../slideLayouts/slideLayout74.xml"/><Relationship Id="rId62" Type="http://schemas.openxmlformats.org/officeDocument/2006/relationships/slideLayout" Target="../slideLayouts/slideLayout82.xml"/><Relationship Id="rId70" Type="http://schemas.openxmlformats.org/officeDocument/2006/relationships/slideLayout" Target="../slideLayouts/slideLayout90.xml"/><Relationship Id="rId75" Type="http://schemas.openxmlformats.org/officeDocument/2006/relationships/oleObject" Target="../embeddings/oleObject10.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49" Type="http://schemas.openxmlformats.org/officeDocument/2006/relationships/slideLayout" Target="../slideLayouts/slideLayout69.xml"/><Relationship Id="rId57" Type="http://schemas.openxmlformats.org/officeDocument/2006/relationships/slideLayout" Target="../slideLayouts/slideLayout77.xml"/><Relationship Id="rId10" Type="http://schemas.openxmlformats.org/officeDocument/2006/relationships/slideLayout" Target="../slideLayouts/slideLayout30.xml"/><Relationship Id="rId31" Type="http://schemas.openxmlformats.org/officeDocument/2006/relationships/slideLayout" Target="../slideLayouts/slideLayout51.xml"/><Relationship Id="rId44" Type="http://schemas.openxmlformats.org/officeDocument/2006/relationships/slideLayout" Target="../slideLayouts/slideLayout64.xml"/><Relationship Id="rId52" Type="http://schemas.openxmlformats.org/officeDocument/2006/relationships/slideLayout" Target="../slideLayouts/slideLayout72.xml"/><Relationship Id="rId60" Type="http://schemas.openxmlformats.org/officeDocument/2006/relationships/slideLayout" Target="../slideLayouts/slideLayout80.xml"/><Relationship Id="rId65" Type="http://schemas.openxmlformats.org/officeDocument/2006/relationships/slideLayout" Target="../slideLayouts/slideLayout85.xml"/><Relationship Id="rId73" Type="http://schemas.openxmlformats.org/officeDocument/2006/relationships/tags" Target="../tags/tag1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9" Type="http://schemas.openxmlformats.org/officeDocument/2006/relationships/slideLayout" Target="../slideLayouts/slideLayout59.xml"/><Relationship Id="rId34" Type="http://schemas.openxmlformats.org/officeDocument/2006/relationships/slideLayout" Target="../slideLayouts/slideLayout54.xml"/><Relationship Id="rId50" Type="http://schemas.openxmlformats.org/officeDocument/2006/relationships/slideLayout" Target="../slideLayouts/slideLayout70.xml"/><Relationship Id="rId55" Type="http://schemas.openxmlformats.org/officeDocument/2006/relationships/slideLayout" Target="../slideLayouts/slideLayout75.xml"/><Relationship Id="rId76" Type="http://schemas.openxmlformats.org/officeDocument/2006/relationships/image" Target="../media/image15.emf"/><Relationship Id="rId7" Type="http://schemas.openxmlformats.org/officeDocument/2006/relationships/slideLayout" Target="../slideLayouts/slideLayout27.xml"/><Relationship Id="rId71"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17.xml"/><Relationship Id="rId21" Type="http://schemas.openxmlformats.org/officeDocument/2006/relationships/slideLayout" Target="../slideLayouts/slideLayout112.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63" Type="http://schemas.openxmlformats.org/officeDocument/2006/relationships/slideLayout" Target="../slideLayouts/slideLayout154.xml"/><Relationship Id="rId68" Type="http://schemas.openxmlformats.org/officeDocument/2006/relationships/slideLayout" Target="../slideLayouts/slideLayout159.xml"/><Relationship Id="rId16" Type="http://schemas.openxmlformats.org/officeDocument/2006/relationships/slideLayout" Target="../slideLayouts/slideLayout10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3" Type="http://schemas.openxmlformats.org/officeDocument/2006/relationships/slideLayout" Target="../slideLayouts/slideLayout144.xml"/><Relationship Id="rId58" Type="http://schemas.openxmlformats.org/officeDocument/2006/relationships/slideLayout" Target="../slideLayouts/slideLayout149.xml"/><Relationship Id="rId66" Type="http://schemas.openxmlformats.org/officeDocument/2006/relationships/slideLayout" Target="../slideLayouts/slideLayout157.xml"/><Relationship Id="rId74" Type="http://schemas.openxmlformats.org/officeDocument/2006/relationships/theme" Target="../theme/theme5.xml"/><Relationship Id="rId5" Type="http://schemas.openxmlformats.org/officeDocument/2006/relationships/slideLayout" Target="../slideLayouts/slideLayout96.xml"/><Relationship Id="rId61" Type="http://schemas.openxmlformats.org/officeDocument/2006/relationships/slideLayout" Target="../slideLayouts/slideLayout152.xml"/><Relationship Id="rId19" Type="http://schemas.openxmlformats.org/officeDocument/2006/relationships/slideLayout" Target="../slideLayouts/slideLayout11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slideLayout" Target="../slideLayouts/slideLayout139.xml"/><Relationship Id="rId56" Type="http://schemas.openxmlformats.org/officeDocument/2006/relationships/slideLayout" Target="../slideLayouts/slideLayout147.xml"/><Relationship Id="rId64" Type="http://schemas.openxmlformats.org/officeDocument/2006/relationships/slideLayout" Target="../slideLayouts/slideLayout155.xml"/><Relationship Id="rId69" Type="http://schemas.openxmlformats.org/officeDocument/2006/relationships/slideLayout" Target="../slideLayouts/slideLayout160.xml"/><Relationship Id="rId77" Type="http://schemas.openxmlformats.org/officeDocument/2006/relationships/oleObject" Target="../embeddings/oleObject78.bin"/><Relationship Id="rId8" Type="http://schemas.openxmlformats.org/officeDocument/2006/relationships/slideLayout" Target="../slideLayouts/slideLayout99.xml"/><Relationship Id="rId51" Type="http://schemas.openxmlformats.org/officeDocument/2006/relationships/slideLayout" Target="../slideLayouts/slideLayout142.xml"/><Relationship Id="rId72" Type="http://schemas.openxmlformats.org/officeDocument/2006/relationships/slideLayout" Target="../slideLayouts/slideLayout163.xml"/><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59" Type="http://schemas.openxmlformats.org/officeDocument/2006/relationships/slideLayout" Target="../slideLayouts/slideLayout150.xml"/><Relationship Id="rId67" Type="http://schemas.openxmlformats.org/officeDocument/2006/relationships/slideLayout" Target="../slideLayouts/slideLayout158.xml"/><Relationship Id="rId20" Type="http://schemas.openxmlformats.org/officeDocument/2006/relationships/slideLayout" Target="../slideLayouts/slideLayout111.xml"/><Relationship Id="rId41" Type="http://schemas.openxmlformats.org/officeDocument/2006/relationships/slideLayout" Target="../slideLayouts/slideLayout132.xml"/><Relationship Id="rId54" Type="http://schemas.openxmlformats.org/officeDocument/2006/relationships/slideLayout" Target="../slideLayouts/slideLayout145.xml"/><Relationship Id="rId62" Type="http://schemas.openxmlformats.org/officeDocument/2006/relationships/slideLayout" Target="../slideLayouts/slideLayout153.xml"/><Relationship Id="rId70" Type="http://schemas.openxmlformats.org/officeDocument/2006/relationships/slideLayout" Target="../slideLayouts/slideLayout161.xml"/><Relationship Id="rId75" Type="http://schemas.openxmlformats.org/officeDocument/2006/relationships/tags" Target="../tags/tag178.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slideLayout" Target="../slideLayouts/slideLayout140.xml"/><Relationship Id="rId57" Type="http://schemas.openxmlformats.org/officeDocument/2006/relationships/slideLayout" Target="../slideLayouts/slideLayout148.xml"/><Relationship Id="rId10" Type="http://schemas.openxmlformats.org/officeDocument/2006/relationships/slideLayout" Target="../slideLayouts/slideLayout101.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52" Type="http://schemas.openxmlformats.org/officeDocument/2006/relationships/slideLayout" Target="../slideLayouts/slideLayout143.xml"/><Relationship Id="rId60" Type="http://schemas.openxmlformats.org/officeDocument/2006/relationships/slideLayout" Target="../slideLayouts/slideLayout151.xml"/><Relationship Id="rId65" Type="http://schemas.openxmlformats.org/officeDocument/2006/relationships/slideLayout" Target="../slideLayouts/slideLayout156.xml"/><Relationship Id="rId73" Type="http://schemas.openxmlformats.org/officeDocument/2006/relationships/slideLayout" Target="../slideLayouts/slideLayout164.xml"/><Relationship Id="rId78" Type="http://schemas.openxmlformats.org/officeDocument/2006/relationships/image" Target="../media/image15.emf"/><Relationship Id="rId4" Type="http://schemas.openxmlformats.org/officeDocument/2006/relationships/slideLayout" Target="../slideLayouts/slideLayout95.xml"/><Relationship Id="rId9" Type="http://schemas.openxmlformats.org/officeDocument/2006/relationships/slideLayout" Target="../slideLayouts/slideLayout100.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9" Type="http://schemas.openxmlformats.org/officeDocument/2006/relationships/slideLayout" Target="../slideLayouts/slideLayout130.xml"/><Relationship Id="rId34" Type="http://schemas.openxmlformats.org/officeDocument/2006/relationships/slideLayout" Target="../slideLayouts/slideLayout125.xml"/><Relationship Id="rId50" Type="http://schemas.openxmlformats.org/officeDocument/2006/relationships/slideLayout" Target="../slideLayouts/slideLayout141.xml"/><Relationship Id="rId55" Type="http://schemas.openxmlformats.org/officeDocument/2006/relationships/slideLayout" Target="../slideLayouts/slideLayout146.xml"/><Relationship Id="rId76" Type="http://schemas.openxmlformats.org/officeDocument/2006/relationships/tags" Target="../tags/tag179.xml"/><Relationship Id="rId7" Type="http://schemas.openxmlformats.org/officeDocument/2006/relationships/slideLayout" Target="../slideLayouts/slideLayout98.xml"/><Relationship Id="rId71" Type="http://schemas.openxmlformats.org/officeDocument/2006/relationships/slideLayout" Target="../slideLayouts/slideLayout162.xml"/><Relationship Id="rId2" Type="http://schemas.openxmlformats.org/officeDocument/2006/relationships/slideLayout" Target="../slideLayouts/slideLayout93.xml"/><Relationship Id="rId29"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90.xml"/><Relationship Id="rId21" Type="http://schemas.openxmlformats.org/officeDocument/2006/relationships/slideLayout" Target="../slideLayouts/slideLayout185.xml"/><Relationship Id="rId42" Type="http://schemas.openxmlformats.org/officeDocument/2006/relationships/slideLayout" Target="../slideLayouts/slideLayout206.xml"/><Relationship Id="rId47" Type="http://schemas.openxmlformats.org/officeDocument/2006/relationships/slideLayout" Target="../slideLayouts/slideLayout211.xml"/><Relationship Id="rId63" Type="http://schemas.openxmlformats.org/officeDocument/2006/relationships/slideLayout" Target="../slideLayouts/slideLayout227.xml"/><Relationship Id="rId68" Type="http://schemas.openxmlformats.org/officeDocument/2006/relationships/tags" Target="../tags/tag348.xml"/><Relationship Id="rId7" Type="http://schemas.openxmlformats.org/officeDocument/2006/relationships/slideLayout" Target="../slideLayouts/slideLayout171.xml"/><Relationship Id="rId71" Type="http://schemas.openxmlformats.org/officeDocument/2006/relationships/image" Target="../media/image15.emf"/><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slideLayout" Target="../slideLayouts/slideLayout209.xml"/><Relationship Id="rId53" Type="http://schemas.openxmlformats.org/officeDocument/2006/relationships/slideLayout" Target="../slideLayouts/slideLayout217.xml"/><Relationship Id="rId58" Type="http://schemas.openxmlformats.org/officeDocument/2006/relationships/slideLayout" Target="../slideLayouts/slideLayout222.xml"/><Relationship Id="rId66" Type="http://schemas.openxmlformats.org/officeDocument/2006/relationships/slideLayout" Target="../slideLayouts/slideLayout230.xml"/><Relationship Id="rId5" Type="http://schemas.openxmlformats.org/officeDocument/2006/relationships/slideLayout" Target="../slideLayouts/slideLayout169.xml"/><Relationship Id="rId61" Type="http://schemas.openxmlformats.org/officeDocument/2006/relationships/slideLayout" Target="../slideLayouts/slideLayout225.xml"/><Relationship Id="rId19" Type="http://schemas.openxmlformats.org/officeDocument/2006/relationships/slideLayout" Target="../slideLayouts/slideLayout18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slideLayout" Target="../slideLayouts/slideLayout212.xml"/><Relationship Id="rId56" Type="http://schemas.openxmlformats.org/officeDocument/2006/relationships/slideLayout" Target="../slideLayouts/slideLayout220.xml"/><Relationship Id="rId64" Type="http://schemas.openxmlformats.org/officeDocument/2006/relationships/slideLayout" Target="../slideLayouts/slideLayout228.xml"/><Relationship Id="rId69" Type="http://schemas.openxmlformats.org/officeDocument/2006/relationships/tags" Target="../tags/tag349.xml"/><Relationship Id="rId8" Type="http://schemas.openxmlformats.org/officeDocument/2006/relationships/slideLayout" Target="../slideLayouts/slideLayout172.xml"/><Relationship Id="rId51" Type="http://schemas.openxmlformats.org/officeDocument/2006/relationships/slideLayout" Target="../slideLayouts/slideLayout215.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slideLayout" Target="../slideLayouts/slideLayout210.xml"/><Relationship Id="rId59" Type="http://schemas.openxmlformats.org/officeDocument/2006/relationships/slideLayout" Target="../slideLayouts/slideLayout223.xml"/><Relationship Id="rId67" Type="http://schemas.openxmlformats.org/officeDocument/2006/relationships/theme" Target="../theme/theme6.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54" Type="http://schemas.openxmlformats.org/officeDocument/2006/relationships/slideLayout" Target="../slideLayouts/slideLayout218.xml"/><Relationship Id="rId62" Type="http://schemas.openxmlformats.org/officeDocument/2006/relationships/slideLayout" Target="../slideLayouts/slideLayout226.xml"/><Relationship Id="rId70" Type="http://schemas.openxmlformats.org/officeDocument/2006/relationships/oleObject" Target="../embeddings/oleObject147.bin"/><Relationship Id="rId1" Type="http://schemas.openxmlformats.org/officeDocument/2006/relationships/slideLayout" Target="../slideLayouts/slideLayout165.xml"/><Relationship Id="rId6" Type="http://schemas.openxmlformats.org/officeDocument/2006/relationships/slideLayout" Target="../slideLayouts/slideLayout170.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slideLayout" Target="../slideLayouts/slideLayout213.xml"/><Relationship Id="rId57" Type="http://schemas.openxmlformats.org/officeDocument/2006/relationships/slideLayout" Target="../slideLayouts/slideLayout221.xml"/><Relationship Id="rId10" Type="http://schemas.openxmlformats.org/officeDocument/2006/relationships/slideLayout" Target="../slideLayouts/slideLayout174.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52" Type="http://schemas.openxmlformats.org/officeDocument/2006/relationships/slideLayout" Target="../slideLayouts/slideLayout216.xml"/><Relationship Id="rId60" Type="http://schemas.openxmlformats.org/officeDocument/2006/relationships/slideLayout" Target="../slideLayouts/slideLayout224.xml"/><Relationship Id="rId65" Type="http://schemas.openxmlformats.org/officeDocument/2006/relationships/slideLayout" Target="../slideLayouts/slideLayout229.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9" Type="http://schemas.openxmlformats.org/officeDocument/2006/relationships/slideLayout" Target="../slideLayouts/slideLayout203.xml"/><Relationship Id="rId34" Type="http://schemas.openxmlformats.org/officeDocument/2006/relationships/slideLayout" Target="../slideLayouts/slideLayout198.xml"/><Relationship Id="rId50" Type="http://schemas.openxmlformats.org/officeDocument/2006/relationships/slideLayout" Target="../slideLayouts/slideLayout214.xml"/><Relationship Id="rId55" Type="http://schemas.openxmlformats.org/officeDocument/2006/relationships/slideLayout" Target="../slideLayouts/slideLayout2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image" Target="../media/image34.png"/><Relationship Id="rId2" Type="http://schemas.openxmlformats.org/officeDocument/2006/relationships/slideLayout" Target="../slideLayouts/slideLayout232.xml"/><Relationship Id="rId16" Type="http://schemas.openxmlformats.org/officeDocument/2006/relationships/image" Target="../media/image33.png"/><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theme" Target="../theme/theme7.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47.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theme" Target="../theme/theme8.xml"/><Relationship Id="rId5" Type="http://schemas.openxmlformats.org/officeDocument/2006/relationships/slideLayout" Target="../slideLayouts/slideLayout249.xml"/><Relationship Id="rId4" Type="http://schemas.openxmlformats.org/officeDocument/2006/relationships/slideLayout" Target="../slideLayouts/slideLayout248.xml"/></Relationships>
</file>

<file path=ppt/slideMasters/_rels/slideMaster9.xml.rels><?xml version="1.0" encoding="UTF-8" standalone="yes"?>
<Relationships xmlns="http://schemas.openxmlformats.org/package/2006/relationships"><Relationship Id="rId13" Type="http://schemas.openxmlformats.org/officeDocument/2006/relationships/tags" Target="../tags/tag520.xml"/><Relationship Id="rId18" Type="http://schemas.openxmlformats.org/officeDocument/2006/relationships/tags" Target="../tags/tag525.xml"/><Relationship Id="rId26" Type="http://schemas.openxmlformats.org/officeDocument/2006/relationships/tags" Target="../tags/tag533.xml"/><Relationship Id="rId39" Type="http://schemas.openxmlformats.org/officeDocument/2006/relationships/tags" Target="../tags/tag546.xml"/><Relationship Id="rId21" Type="http://schemas.openxmlformats.org/officeDocument/2006/relationships/tags" Target="../tags/tag528.xml"/><Relationship Id="rId34" Type="http://schemas.openxmlformats.org/officeDocument/2006/relationships/tags" Target="../tags/tag541.xml"/><Relationship Id="rId42" Type="http://schemas.openxmlformats.org/officeDocument/2006/relationships/oleObject" Target="../embeddings/oleObject213.bin"/><Relationship Id="rId7" Type="http://schemas.openxmlformats.org/officeDocument/2006/relationships/tags" Target="../tags/tag514.xml"/><Relationship Id="rId2" Type="http://schemas.openxmlformats.org/officeDocument/2006/relationships/slideLayout" Target="../slideLayouts/slideLayout251.xml"/><Relationship Id="rId16" Type="http://schemas.openxmlformats.org/officeDocument/2006/relationships/tags" Target="../tags/tag523.xml"/><Relationship Id="rId20" Type="http://schemas.openxmlformats.org/officeDocument/2006/relationships/tags" Target="../tags/tag527.xml"/><Relationship Id="rId29" Type="http://schemas.openxmlformats.org/officeDocument/2006/relationships/tags" Target="../tags/tag536.xml"/><Relationship Id="rId41" Type="http://schemas.openxmlformats.org/officeDocument/2006/relationships/tags" Target="../tags/tag548.xml"/><Relationship Id="rId1" Type="http://schemas.openxmlformats.org/officeDocument/2006/relationships/slideLayout" Target="../slideLayouts/slideLayout250.xml"/><Relationship Id="rId6" Type="http://schemas.openxmlformats.org/officeDocument/2006/relationships/theme" Target="../theme/theme9.xml"/><Relationship Id="rId11" Type="http://schemas.openxmlformats.org/officeDocument/2006/relationships/tags" Target="../tags/tag518.xml"/><Relationship Id="rId24" Type="http://schemas.openxmlformats.org/officeDocument/2006/relationships/tags" Target="../tags/tag531.xml"/><Relationship Id="rId32" Type="http://schemas.openxmlformats.org/officeDocument/2006/relationships/tags" Target="../tags/tag539.xml"/><Relationship Id="rId37" Type="http://schemas.openxmlformats.org/officeDocument/2006/relationships/tags" Target="../tags/tag544.xml"/><Relationship Id="rId40" Type="http://schemas.openxmlformats.org/officeDocument/2006/relationships/tags" Target="../tags/tag547.xml"/><Relationship Id="rId5" Type="http://schemas.openxmlformats.org/officeDocument/2006/relationships/slideLayout" Target="../slideLayouts/slideLayout254.xml"/><Relationship Id="rId15" Type="http://schemas.openxmlformats.org/officeDocument/2006/relationships/tags" Target="../tags/tag522.xml"/><Relationship Id="rId23" Type="http://schemas.openxmlformats.org/officeDocument/2006/relationships/tags" Target="../tags/tag530.xml"/><Relationship Id="rId28" Type="http://schemas.openxmlformats.org/officeDocument/2006/relationships/tags" Target="../tags/tag535.xml"/><Relationship Id="rId36" Type="http://schemas.openxmlformats.org/officeDocument/2006/relationships/tags" Target="../tags/tag543.xml"/><Relationship Id="rId10" Type="http://schemas.openxmlformats.org/officeDocument/2006/relationships/tags" Target="../tags/tag517.xml"/><Relationship Id="rId19" Type="http://schemas.openxmlformats.org/officeDocument/2006/relationships/tags" Target="../tags/tag526.xml"/><Relationship Id="rId31" Type="http://schemas.openxmlformats.org/officeDocument/2006/relationships/tags" Target="../tags/tag538.xml"/><Relationship Id="rId44" Type="http://schemas.openxmlformats.org/officeDocument/2006/relationships/image" Target="../media/image38.jpeg"/><Relationship Id="rId4" Type="http://schemas.openxmlformats.org/officeDocument/2006/relationships/slideLayout" Target="../slideLayouts/slideLayout253.xml"/><Relationship Id="rId9" Type="http://schemas.openxmlformats.org/officeDocument/2006/relationships/tags" Target="../tags/tag516.xml"/><Relationship Id="rId14" Type="http://schemas.openxmlformats.org/officeDocument/2006/relationships/tags" Target="../tags/tag521.xml"/><Relationship Id="rId22" Type="http://schemas.openxmlformats.org/officeDocument/2006/relationships/tags" Target="../tags/tag529.xml"/><Relationship Id="rId27" Type="http://schemas.openxmlformats.org/officeDocument/2006/relationships/tags" Target="../tags/tag534.xml"/><Relationship Id="rId30" Type="http://schemas.openxmlformats.org/officeDocument/2006/relationships/tags" Target="../tags/tag537.xml"/><Relationship Id="rId35" Type="http://schemas.openxmlformats.org/officeDocument/2006/relationships/tags" Target="../tags/tag542.xml"/><Relationship Id="rId43" Type="http://schemas.openxmlformats.org/officeDocument/2006/relationships/image" Target="../media/image37.emf"/><Relationship Id="rId8" Type="http://schemas.openxmlformats.org/officeDocument/2006/relationships/tags" Target="../tags/tag515.xml"/><Relationship Id="rId3" Type="http://schemas.openxmlformats.org/officeDocument/2006/relationships/slideLayout" Target="../slideLayouts/slideLayout252.xml"/><Relationship Id="rId12" Type="http://schemas.openxmlformats.org/officeDocument/2006/relationships/tags" Target="../tags/tag519.xml"/><Relationship Id="rId17" Type="http://schemas.openxmlformats.org/officeDocument/2006/relationships/tags" Target="../tags/tag524.xml"/><Relationship Id="rId25" Type="http://schemas.openxmlformats.org/officeDocument/2006/relationships/tags" Target="../tags/tag532.xml"/><Relationship Id="rId33" Type="http://schemas.openxmlformats.org/officeDocument/2006/relationships/tags" Target="../tags/tag540.xml"/><Relationship Id="rId38" Type="http://schemas.openxmlformats.org/officeDocument/2006/relationships/tags" Target="../tags/tag5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0226" name="Rectangle 2"/>
          <p:cNvSpPr>
            <a:spLocks noGrp="1" noChangeArrowheads="1"/>
          </p:cNvSpPr>
          <p:nvPr>
            <p:ph type="title"/>
          </p:nvPr>
        </p:nvSpPr>
        <p:spPr bwMode="auto">
          <a:xfrm>
            <a:off x="431801" y="142892"/>
            <a:ext cx="10318363" cy="822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180227" name="Rectangle 3"/>
          <p:cNvSpPr>
            <a:spLocks noGrp="1" noChangeArrowheads="1"/>
          </p:cNvSpPr>
          <p:nvPr>
            <p:ph type="body" idx="1"/>
          </p:nvPr>
        </p:nvSpPr>
        <p:spPr bwMode="auto">
          <a:xfrm>
            <a:off x="431807" y="1079500"/>
            <a:ext cx="11368617" cy="51625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a:t>Click to edit Master text styles</a:t>
            </a:r>
          </a:p>
          <a:p>
            <a:pPr lvl="1"/>
            <a:r>
              <a:rPr lang="en-US"/>
              <a:t>Second level</a:t>
            </a:r>
          </a:p>
          <a:p>
            <a:pPr lvl="2"/>
            <a:r>
              <a:rPr lang="en-US"/>
              <a:t>Third level</a:t>
            </a:r>
          </a:p>
          <a:p>
            <a:pPr lvl="0"/>
            <a:endParaRPr lang="en-GB"/>
          </a:p>
        </p:txBody>
      </p:sp>
      <p:sp>
        <p:nvSpPr>
          <p:cNvPr id="10" name="Slide Number Placeholder 9"/>
          <p:cNvSpPr>
            <a:spLocks noGrp="1"/>
          </p:cNvSpPr>
          <p:nvPr>
            <p:ph type="sldNum" sz="quarter" idx="4"/>
          </p:nvPr>
        </p:nvSpPr>
        <p:spPr>
          <a:xfrm>
            <a:off x="9108000" y="6480017"/>
            <a:ext cx="2556000" cy="365125"/>
          </a:xfrm>
          <a:prstGeom prst="rect">
            <a:avLst/>
          </a:prstGeom>
        </p:spPr>
        <p:txBody>
          <a:bodyPr vert="horz" lIns="91440" tIns="36000" rIns="91440" bIns="36000" rtlCol="0" anchor="ctr" anchorCtr="0"/>
          <a:lstStyle>
            <a:lvl1pPr algn="r">
              <a:lnSpc>
                <a:spcPct val="100000"/>
              </a:lnSpc>
              <a:defRPr sz="900" b="0">
                <a:solidFill>
                  <a:schemeClr val="bg1"/>
                </a:solidFill>
              </a:defRPr>
            </a:lvl1pPr>
          </a:lstStyle>
          <a:p>
            <a:fld id="{0580567E-5E8F-47A5-90DF-8BFEB1A71525}" type="slidenum">
              <a:rPr lang="en-GB" smtClean="0"/>
              <a:pPr/>
              <a:t>‹#›</a:t>
            </a:fld>
            <a:endParaRPr lang="en-GB"/>
          </a:p>
        </p:txBody>
      </p:sp>
    </p:spTree>
    <p:extLst>
      <p:ext uri="{BB962C8B-B14F-4D97-AF65-F5344CB8AC3E}">
        <p14:creationId xmlns:p14="http://schemas.microsoft.com/office/powerpoint/2010/main" val="1655772419"/>
      </p:ext>
    </p:extLst>
  </p:cSld>
  <p:clrMap bg1="lt1" tx1="dk1" bg2="lt2" tx2="dk2" accent1="accent1" accent2="accent2" accent3="accent3" accent4="accent4" accent5="accent5" accent6="accent6" hlink="hlink" folHlink="folHlink"/>
  <p:sldLayoutIdLst>
    <p:sldLayoutId id="2147483707" r:id="rId1"/>
    <p:sldLayoutId id="2147483708" r:id="rId2"/>
  </p:sldLayoutIdLst>
  <p:hf hdr="0" ftr="0" dt="0"/>
  <p:txStyles>
    <p:titleStyle>
      <a:lvl1pPr algn="l" rtl="0" eaLnBrk="1" fontAlgn="base" hangingPunct="1">
        <a:lnSpc>
          <a:spcPct val="90000"/>
        </a:lnSpc>
        <a:spcBef>
          <a:spcPct val="0"/>
        </a:spcBef>
        <a:spcAft>
          <a:spcPct val="0"/>
        </a:spcAft>
        <a:defRPr sz="2100" b="1">
          <a:solidFill>
            <a:srgbClr val="333333"/>
          </a:solidFill>
          <a:latin typeface="Tahoma" pitchFamily="34" charset="0"/>
          <a:ea typeface="+mj-ea"/>
          <a:cs typeface="Tahoma" pitchFamily="34" charset="0"/>
        </a:defRPr>
      </a:lvl1pPr>
      <a:lvl2pPr algn="l" rtl="0" eaLnBrk="1" fontAlgn="base" hangingPunct="1">
        <a:lnSpc>
          <a:spcPct val="90000"/>
        </a:lnSpc>
        <a:spcBef>
          <a:spcPct val="0"/>
        </a:spcBef>
        <a:spcAft>
          <a:spcPct val="0"/>
        </a:spcAft>
        <a:defRPr sz="2100" b="1">
          <a:solidFill>
            <a:srgbClr val="333333"/>
          </a:solidFill>
          <a:latin typeface="Tahoma" pitchFamily="34" charset="0"/>
        </a:defRPr>
      </a:lvl2pPr>
      <a:lvl3pPr algn="l" rtl="0" eaLnBrk="1" fontAlgn="base" hangingPunct="1">
        <a:lnSpc>
          <a:spcPct val="90000"/>
        </a:lnSpc>
        <a:spcBef>
          <a:spcPct val="0"/>
        </a:spcBef>
        <a:spcAft>
          <a:spcPct val="0"/>
        </a:spcAft>
        <a:defRPr sz="2100" b="1">
          <a:solidFill>
            <a:srgbClr val="333333"/>
          </a:solidFill>
          <a:latin typeface="Tahoma" pitchFamily="34" charset="0"/>
        </a:defRPr>
      </a:lvl3pPr>
      <a:lvl4pPr algn="l" rtl="0" eaLnBrk="1" fontAlgn="base" hangingPunct="1">
        <a:lnSpc>
          <a:spcPct val="90000"/>
        </a:lnSpc>
        <a:spcBef>
          <a:spcPct val="0"/>
        </a:spcBef>
        <a:spcAft>
          <a:spcPct val="0"/>
        </a:spcAft>
        <a:defRPr sz="2100" b="1">
          <a:solidFill>
            <a:srgbClr val="333333"/>
          </a:solidFill>
          <a:latin typeface="Tahoma" pitchFamily="34" charset="0"/>
        </a:defRPr>
      </a:lvl4pPr>
      <a:lvl5pPr algn="l" rtl="0" eaLnBrk="1" fontAlgn="base" hangingPunct="1">
        <a:lnSpc>
          <a:spcPct val="90000"/>
        </a:lnSpc>
        <a:spcBef>
          <a:spcPct val="0"/>
        </a:spcBef>
        <a:spcAft>
          <a:spcPct val="0"/>
        </a:spcAft>
        <a:defRPr sz="2100" b="1">
          <a:solidFill>
            <a:srgbClr val="333333"/>
          </a:solidFill>
          <a:latin typeface="Tahoma" pitchFamily="34" charset="0"/>
        </a:defRPr>
      </a:lvl5pPr>
      <a:lvl6pPr marL="342884" algn="l" rtl="0" eaLnBrk="1" fontAlgn="base" hangingPunct="1">
        <a:lnSpc>
          <a:spcPct val="90000"/>
        </a:lnSpc>
        <a:spcBef>
          <a:spcPct val="0"/>
        </a:spcBef>
        <a:spcAft>
          <a:spcPct val="0"/>
        </a:spcAft>
        <a:defRPr sz="2100" b="1">
          <a:solidFill>
            <a:srgbClr val="333333"/>
          </a:solidFill>
          <a:latin typeface="Tahoma" pitchFamily="34" charset="0"/>
        </a:defRPr>
      </a:lvl6pPr>
      <a:lvl7pPr marL="685766" algn="l" rtl="0" eaLnBrk="1" fontAlgn="base" hangingPunct="1">
        <a:lnSpc>
          <a:spcPct val="90000"/>
        </a:lnSpc>
        <a:spcBef>
          <a:spcPct val="0"/>
        </a:spcBef>
        <a:spcAft>
          <a:spcPct val="0"/>
        </a:spcAft>
        <a:defRPr sz="2100" b="1">
          <a:solidFill>
            <a:srgbClr val="333333"/>
          </a:solidFill>
          <a:latin typeface="Tahoma" pitchFamily="34" charset="0"/>
        </a:defRPr>
      </a:lvl7pPr>
      <a:lvl8pPr marL="1028649" algn="l" rtl="0" eaLnBrk="1" fontAlgn="base" hangingPunct="1">
        <a:lnSpc>
          <a:spcPct val="90000"/>
        </a:lnSpc>
        <a:spcBef>
          <a:spcPct val="0"/>
        </a:spcBef>
        <a:spcAft>
          <a:spcPct val="0"/>
        </a:spcAft>
        <a:defRPr sz="2100" b="1">
          <a:solidFill>
            <a:srgbClr val="333333"/>
          </a:solidFill>
          <a:latin typeface="Tahoma" pitchFamily="34" charset="0"/>
        </a:defRPr>
      </a:lvl8pPr>
      <a:lvl9pPr marL="1371532" algn="l" rtl="0" eaLnBrk="1" fontAlgn="base" hangingPunct="1">
        <a:lnSpc>
          <a:spcPct val="90000"/>
        </a:lnSpc>
        <a:spcBef>
          <a:spcPct val="0"/>
        </a:spcBef>
        <a:spcAft>
          <a:spcPct val="0"/>
        </a:spcAft>
        <a:defRPr sz="2100" b="1">
          <a:solidFill>
            <a:srgbClr val="333333"/>
          </a:solidFill>
          <a:latin typeface="Tahoma" pitchFamily="34" charset="0"/>
        </a:defRPr>
      </a:lvl9pPr>
    </p:titleStyle>
    <p:bodyStyle>
      <a:lvl1pPr marL="0" indent="0" algn="l" rtl="0" eaLnBrk="1" fontAlgn="base" hangingPunct="1">
        <a:lnSpc>
          <a:spcPct val="90000"/>
        </a:lnSpc>
        <a:spcBef>
          <a:spcPts val="225"/>
        </a:spcBef>
        <a:spcAft>
          <a:spcPts val="450"/>
        </a:spcAft>
        <a:buFont typeface="Wingdings" pitchFamily="2" charset="2"/>
        <a:tabLst/>
        <a:defRPr sz="1800">
          <a:solidFill>
            <a:schemeClr val="tx1"/>
          </a:solidFill>
          <a:latin typeface="Tahoma" pitchFamily="34" charset="0"/>
          <a:ea typeface="+mn-ea"/>
          <a:cs typeface="Tahoma" pitchFamily="34" charset="0"/>
        </a:defRPr>
      </a:lvl1pPr>
      <a:lvl2pPr marL="202396" indent="-202396" algn="l" rtl="0" eaLnBrk="1" fontAlgn="base" hangingPunct="1">
        <a:lnSpc>
          <a:spcPct val="90000"/>
        </a:lnSpc>
        <a:spcBef>
          <a:spcPct val="0"/>
        </a:spcBef>
        <a:spcAft>
          <a:spcPts val="225"/>
        </a:spcAft>
        <a:buFont typeface="Arial" pitchFamily="34" charset="0"/>
        <a:buChar char="•"/>
        <a:defRPr sz="1800">
          <a:solidFill>
            <a:schemeClr val="tx1"/>
          </a:solidFill>
          <a:latin typeface="+mn-lt"/>
        </a:defRPr>
      </a:lvl2pPr>
      <a:lvl3pPr marL="405984" indent="-203587" algn="l" rtl="0" eaLnBrk="1" fontAlgn="base" hangingPunct="1">
        <a:lnSpc>
          <a:spcPct val="90000"/>
        </a:lnSpc>
        <a:spcBef>
          <a:spcPct val="20000"/>
        </a:spcBef>
        <a:spcAft>
          <a:spcPts val="225"/>
        </a:spcAft>
        <a:buFont typeface="Tahoma" pitchFamily="34" charset="0"/>
        <a:buChar char="–"/>
        <a:defRPr sz="1800">
          <a:solidFill>
            <a:schemeClr val="tx1"/>
          </a:solidFill>
          <a:latin typeface="+mn-lt"/>
        </a:defRPr>
      </a:lvl3pPr>
      <a:lvl4pPr marL="1200090" indent="-171442" algn="l" rtl="0" eaLnBrk="1" fontAlgn="base" hangingPunct="1">
        <a:spcBef>
          <a:spcPct val="20000"/>
        </a:spcBef>
        <a:spcAft>
          <a:spcPct val="0"/>
        </a:spcAft>
        <a:defRPr sz="1200">
          <a:solidFill>
            <a:schemeClr val="tx1"/>
          </a:solidFill>
          <a:latin typeface="+mn-lt"/>
        </a:defRPr>
      </a:lvl4pPr>
      <a:lvl5pPr marL="1542974" indent="-171442" algn="l" rtl="0" eaLnBrk="1" fontAlgn="base" hangingPunct="1">
        <a:spcBef>
          <a:spcPct val="20000"/>
        </a:spcBef>
        <a:spcAft>
          <a:spcPct val="0"/>
        </a:spcAft>
        <a:buChar char="»"/>
        <a:defRPr sz="1200">
          <a:solidFill>
            <a:schemeClr val="tx1"/>
          </a:solidFill>
          <a:latin typeface="+mn-lt"/>
        </a:defRPr>
      </a:lvl5pPr>
      <a:lvl6pPr marL="1885856" indent="-171442" algn="l" rtl="0" eaLnBrk="1" fontAlgn="base" hangingPunct="1">
        <a:spcBef>
          <a:spcPct val="20000"/>
        </a:spcBef>
        <a:spcAft>
          <a:spcPct val="0"/>
        </a:spcAft>
        <a:buChar char="»"/>
        <a:defRPr sz="1200">
          <a:solidFill>
            <a:schemeClr val="tx1"/>
          </a:solidFill>
          <a:latin typeface="+mn-lt"/>
        </a:defRPr>
      </a:lvl6pPr>
      <a:lvl7pPr marL="2228739" indent="-171442" algn="l" rtl="0" eaLnBrk="1" fontAlgn="base" hangingPunct="1">
        <a:spcBef>
          <a:spcPct val="20000"/>
        </a:spcBef>
        <a:spcAft>
          <a:spcPct val="0"/>
        </a:spcAft>
        <a:buChar char="»"/>
        <a:defRPr sz="1200">
          <a:solidFill>
            <a:schemeClr val="tx1"/>
          </a:solidFill>
          <a:latin typeface="+mn-lt"/>
        </a:defRPr>
      </a:lvl7pPr>
      <a:lvl8pPr marL="2571622" indent="-171442" algn="l" rtl="0" eaLnBrk="1" fontAlgn="base" hangingPunct="1">
        <a:spcBef>
          <a:spcPct val="20000"/>
        </a:spcBef>
        <a:spcAft>
          <a:spcPct val="0"/>
        </a:spcAft>
        <a:buChar char="»"/>
        <a:defRPr sz="1200">
          <a:solidFill>
            <a:schemeClr val="tx1"/>
          </a:solidFill>
          <a:latin typeface="+mn-lt"/>
        </a:defRPr>
      </a:lvl8pPr>
      <a:lvl9pPr marL="2914505" indent="-171442" algn="l" rtl="0" eaLnBrk="1" fontAlgn="base" hangingPunct="1">
        <a:spcBef>
          <a:spcPct val="20000"/>
        </a:spcBef>
        <a:spcAft>
          <a:spcPct val="0"/>
        </a:spcAft>
        <a:buChar char="»"/>
        <a:defRPr sz="1200">
          <a:solidFill>
            <a:schemeClr val="tx1"/>
          </a:solidFill>
          <a:latin typeface="+mn-lt"/>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B7BEEE36-EBC5-45F7-B3DE-398CBD065D58}"/>
              </a:ext>
            </a:extLst>
          </p:cNvPr>
          <p:cNvSpPr>
            <a:spLocks/>
          </p:cNvSpPr>
          <p:nvPr userDrawn="1"/>
        </p:nvSpPr>
        <p:spPr bwMode="gray">
          <a:xfrm>
            <a:off x="0" y="-27384"/>
            <a:ext cx="12192000" cy="11968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aphicFrame>
        <p:nvGraphicFramePr>
          <p:cNvPr id="2" name="Object 1" hidden="1"/>
          <p:cNvGraphicFramePr>
            <a:graphicFrameLocks noChangeAspect="1"/>
          </p:cNvGraphicFramePr>
          <p:nvPr>
            <p:custDataLst>
              <p:tags r:id="rId8"/>
            </p:custDataLst>
          </p:nvPr>
        </p:nvGraphicFramePr>
        <p:xfrm>
          <a:off x="0" y="2"/>
          <a:ext cx="215978" cy="161975"/>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2" name="Object 1" hidden="1"/>
                      <p:cNvPicPr/>
                      <p:nvPr/>
                    </p:nvPicPr>
                    <p:blipFill>
                      <a:blip r:embed="rId44"/>
                      <a:stretch>
                        <a:fillRect/>
                      </a:stretch>
                    </p:blipFill>
                    <p:spPr>
                      <a:xfrm>
                        <a:off x="0" y="2"/>
                        <a:ext cx="215978" cy="161975"/>
                      </a:xfrm>
                      <a:prstGeom prst="rect">
                        <a:avLst/>
                      </a:prstGeom>
                    </p:spPr>
                  </p:pic>
                </p:oleObj>
              </mc:Fallback>
            </mc:AlternateContent>
          </a:graphicData>
        </a:graphic>
      </p:graphicFrame>
      <p:sp>
        <p:nvSpPr>
          <p:cNvPr id="6" name="Rectangle 5" hidden="1"/>
          <p:cNvSpPr/>
          <p:nvPr>
            <p:custDataLst>
              <p:tags r:id="rId9"/>
            </p:custDataLst>
          </p:nvPr>
        </p:nvSpPr>
        <p:spPr bwMode="auto">
          <a:xfrm>
            <a:off x="0" y="2"/>
            <a:ext cx="215978"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609600" y="7020"/>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buClr>
                <a:schemeClr val="bg1"/>
              </a:buClr>
              <a:tabLst>
                <a:tab pos="361950" algn="l"/>
              </a:tabLst>
            </a:pPr>
            <a:r>
              <a:rPr lang="en-US" sz="1000" cap="all" baseline="0">
                <a:solidFill>
                  <a:schemeClr val="bg1"/>
                </a:solidFill>
                <a:latin typeface="+mn-lt"/>
              </a:rPr>
              <a:t>TRACKER</a:t>
            </a:r>
          </a:p>
        </p:txBody>
      </p:sp>
      <p:sp>
        <p:nvSpPr>
          <p:cNvPr id="11" name="3. Unit of measure" hidden="1"/>
          <p:cNvSpPr txBox="1">
            <a:spLocks noChangeArrowheads="1"/>
          </p:cNvSpPr>
          <p:nvPr/>
        </p:nvSpPr>
        <p:spPr bwMode="gray">
          <a:xfrm>
            <a:off x="609600" y="1198769"/>
            <a:ext cx="10972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tabLst>
                <a:tab pos="361950" algn="l"/>
              </a:tabLst>
              <a:defRPr lang="x-none"/>
            </a:pPr>
            <a:r>
              <a:rPr lang="en-US" sz="1600">
                <a:solidFill>
                  <a:schemeClr val="tx1"/>
                </a:solidFill>
                <a:latin typeface="+mn-lt"/>
              </a:rPr>
              <a:t>Unit of measure</a:t>
            </a:r>
          </a:p>
        </p:txBody>
      </p:sp>
      <p:sp>
        <p:nvSpPr>
          <p:cNvPr id="3" name="Text Placeholder 2"/>
          <p:cNvSpPr>
            <a:spLocks noGrp="1"/>
          </p:cNvSpPr>
          <p:nvPr>
            <p:ph type="body" idx="1"/>
          </p:nvPr>
        </p:nvSpPr>
        <p:spPr bwMode="gray">
          <a:xfrm>
            <a:off x="609600" y="1347994"/>
            <a:ext cx="10972800" cy="4517715"/>
          </a:xfrm>
          <a:prstGeom prst="rect">
            <a:avLst/>
          </a:prstGeom>
        </p:spPr>
        <p:txBody>
          <a:bodyPr vert="horz" wrap="square"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609600" y="1851367"/>
            <a:ext cx="2227807"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p:spPr>
          <p:txBody>
            <a:bodyPr vert="horz" wrap="square" lIns="0" tIns="0" rIns="0" bIns="18288" rtlCol="0" anchor="b">
              <a:spAutoFit/>
            </a:bodyPr>
            <a:lstStyle/>
            <a:p>
              <a:pPr marL="0" lvl="0" indent="0" defTabSz="913572" eaLnBrk="1" latinLnBrk="0" hangingPunct="1">
                <a:buClr>
                  <a:schemeClr val="tx1"/>
                </a:buClr>
                <a:buSzPct val="100000"/>
                <a:buFontTx/>
                <a:buNone/>
              </a:pPr>
              <a:r>
                <a:rPr lang="en-US" sz="1600" b="1" baseline="0">
                  <a:latin typeface="+mn-lt"/>
                </a:rPr>
                <a:t>Title</a:t>
              </a:r>
            </a:p>
            <a:p>
              <a:pPr marL="0" lvl="0" indent="0" defTabSz="913572" eaLnBrk="1" latinLnBrk="0" hangingPunct="1">
                <a:buClr>
                  <a:schemeClr val="tx1"/>
                </a:buClr>
                <a:buSzPct val="100000"/>
                <a:buFontTx/>
                <a:buNone/>
              </a:pPr>
              <a:r>
                <a:rPr lang="en-US" sz="1600" baseline="0">
                  <a:latin typeface="+mn-lt"/>
                </a:rPr>
                <a:t>Unit of measure</a:t>
              </a:r>
            </a:p>
          </p:txBody>
        </p:sp>
      </p:grpSp>
      <p:sp>
        <p:nvSpPr>
          <p:cNvPr id="63"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3" name="4. Footnote" hidden="1"/>
          <p:cNvSpPr txBox="1">
            <a:spLocks noChangeArrowheads="1"/>
          </p:cNvSpPr>
          <p:nvPr userDrawn="1"/>
        </p:nvSpPr>
        <p:spPr bwMode="gray">
          <a:xfrm>
            <a:off x="609600" y="5836400"/>
            <a:ext cx="109728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50" indent="-95250">
              <a:defRPr lang="x-none"/>
            </a:pPr>
            <a:r>
              <a:rPr lang="en-US" sz="900">
                <a:solidFill>
                  <a:schemeClr val="tx1"/>
                </a:solidFill>
                <a:latin typeface="+mn-lt"/>
              </a:rPr>
              <a:t>1 Footnote</a:t>
            </a:r>
          </a:p>
        </p:txBody>
      </p:sp>
      <p:sp>
        <p:nvSpPr>
          <p:cNvPr id="14" name="5. Source" hidden="1"/>
          <p:cNvSpPr>
            <a:spLocks noChangeArrowheads="1"/>
          </p:cNvSpPr>
          <p:nvPr userDrawn="1"/>
        </p:nvSpPr>
        <p:spPr bwMode="gray">
          <a:xfrm>
            <a:off x="3536949" y="6146663"/>
            <a:ext cx="543083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427038" indent="-427038" defTabSz="913572">
              <a:tabLst/>
            </a:pPr>
            <a:r>
              <a:rPr lang="en-US" sz="900">
                <a:solidFill>
                  <a:schemeClr val="tx1"/>
                </a:solidFill>
                <a:latin typeface="+mn-lt"/>
              </a:rPr>
              <a:t>Source: Source</a:t>
            </a:r>
          </a:p>
        </p:txBody>
      </p:sp>
      <p:grpSp>
        <p:nvGrpSpPr>
          <p:cNvPr id="108" name="Sticker" hidden="1"/>
          <p:cNvGrpSpPr/>
          <p:nvPr userDrawn="1"/>
        </p:nvGrpSpPr>
        <p:grpSpPr bwMode="gray">
          <a:xfrm>
            <a:off x="10915377" y="1198769"/>
            <a:ext cx="667023" cy="241447"/>
            <a:chOff x="8073926" y="285750"/>
            <a:chExt cx="666849" cy="241447"/>
          </a:xfrm>
        </p:grpSpPr>
        <p:sp>
          <p:nvSpPr>
            <p:cNvPr id="109" name="StickerRectangle"/>
            <p:cNvSpPr>
              <a:spLocks noChangeArrowheads="1"/>
            </p:cNvSpPr>
            <p:nvPr/>
          </p:nvSpPr>
          <p:spPr bwMode="gray">
            <a:xfrm>
              <a:off x="8073926" y="285750"/>
              <a:ext cx="666849" cy="2414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619">
                <a:buClr>
                  <a:schemeClr val="tx2"/>
                </a:buClr>
              </a:pPr>
              <a:r>
                <a:rPr lang="en-US" sz="1200" noProof="0">
                  <a:solidFill>
                    <a:schemeClr val="tx1"/>
                  </a:solidFill>
                  <a:latin typeface="+mn-lt"/>
                </a:rPr>
                <a:t>STICKER</a:t>
              </a:r>
            </a:p>
          </p:txBody>
        </p:sp>
        <p:cxnSp>
          <p:nvCxnSpPr>
            <p:cNvPr id="110" name="AutoShape 32"/>
            <p:cNvCxnSpPr>
              <a:cxnSpLocks noChangeShapeType="1"/>
              <a:stCxn id="109" idx="4"/>
              <a:endCxn id="109" idx="6"/>
            </p:cNvCxnSpPr>
            <p:nvPr/>
          </p:nvCxnSpPr>
          <p:spPr bwMode="gray">
            <a:xfrm>
              <a:off x="8073926" y="527197"/>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2"/>
              <a:endCxn id="109" idx="0"/>
            </p:cNvCxnSpPr>
            <p:nvPr userDrawn="1"/>
          </p:nvCxnSpPr>
          <p:spPr bwMode="gray">
            <a:xfrm>
              <a:off x="8073926" y="285750"/>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62" name="DirArrow" hidden="1"/>
          <p:cNvSpPr>
            <a:spLocks noChangeArrowheads="1"/>
          </p:cNvSpPr>
          <p:nvPr userDrawn="1">
            <p:custDataLst>
              <p:tags r:id="rId10"/>
            </p:custDataLst>
          </p:nvPr>
        </p:nvSpPr>
        <p:spPr bwMode="gray">
          <a:xfrm rot="5400000">
            <a:off x="5553846" y="2997926"/>
            <a:ext cx="3090672" cy="343497"/>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en-US" sz="1600">
              <a:latin typeface="+mn-lt"/>
            </a:endParaRPr>
          </a:p>
        </p:txBody>
      </p:sp>
      <p:grpSp>
        <p:nvGrpSpPr>
          <p:cNvPr id="68" name="Flow" hidden="1"/>
          <p:cNvGrpSpPr>
            <a:grpSpLocks/>
          </p:cNvGrpSpPr>
          <p:nvPr userDrawn="1">
            <p:custDataLst>
              <p:tags r:id="rId11"/>
            </p:custDataLst>
          </p:nvPr>
        </p:nvGrpSpPr>
        <p:grpSpPr bwMode="gray">
          <a:xfrm>
            <a:off x="1948371" y="3395577"/>
            <a:ext cx="1830388" cy="914400"/>
            <a:chOff x="5905500" y="3124200"/>
            <a:chExt cx="1828800" cy="914400"/>
          </a:xfrm>
          <a:solidFill>
            <a:schemeClr val="accent1"/>
          </a:solidFill>
        </p:grpSpPr>
        <p:sp>
          <p:nvSpPr>
            <p:cNvPr id="69" name="Freeform 68"/>
            <p:cNvSpPr/>
            <p:nvPr>
              <p:custDataLst>
                <p:tags r:id="rId41"/>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mn-lt"/>
              </a:endParaRPr>
            </a:p>
          </p:txBody>
        </p:sp>
        <p:sp>
          <p:nvSpPr>
            <p:cNvPr id="70" name="TextBox 69"/>
            <p:cNvSpPr txBox="1"/>
            <p:nvPr>
              <p:custDataLst>
                <p:tags r:id="rId42"/>
              </p:custDataLst>
            </p:nvPr>
          </p:nvSpPr>
          <p:spPr bwMode="gray">
            <a:xfrm>
              <a:off x="5969000" y="3187700"/>
              <a:ext cx="1524000" cy="793223"/>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grpSp>
      <p:sp>
        <p:nvSpPr>
          <p:cNvPr id="100" name="Oval" hidden="1"/>
          <p:cNvSpPr txBox="1">
            <a:spLocks/>
          </p:cNvSpPr>
          <p:nvPr userDrawn="1"/>
        </p:nvSpPr>
        <p:spPr bwMode="gray">
          <a:xfrm>
            <a:off x="1954973" y="1624338"/>
            <a:ext cx="1525588" cy="1524000"/>
          </a:xfrm>
          <a:prstGeom prst="ellipse">
            <a:avLst/>
          </a:prstGeom>
          <a:solidFill>
            <a:schemeClr val="accent1"/>
          </a:solidFill>
          <a:ln>
            <a:solidFill>
              <a:schemeClr val="tx1"/>
            </a:solidFill>
          </a:ln>
        </p:spPr>
        <p:txBody>
          <a:bodyPr vert="horz" wrap="square" lIns="73152" tIns="73152" rIns="73152" bIns="73152" rtlCol="0" anchor="ctr">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lgn="ctr"/>
            <a:r>
              <a:rPr lang="en-US"/>
              <a:t>Text</a:t>
            </a:r>
          </a:p>
        </p:txBody>
      </p:sp>
      <p:sp>
        <p:nvSpPr>
          <p:cNvPr id="101" name="Body3" hidden="1"/>
          <p:cNvSpPr txBox="1">
            <a:spLocks/>
          </p:cNvSpPr>
          <p:nvPr userDrawn="1"/>
        </p:nvSpPr>
        <p:spPr bwMode="gray">
          <a:xfrm>
            <a:off x="3591714" y="1624337"/>
            <a:ext cx="1525588" cy="1524000"/>
          </a:xfrm>
          <a:prstGeom prst="rect">
            <a:avLst/>
          </a:prstGeom>
          <a:solidFill>
            <a:schemeClr val="accent1"/>
          </a:solidFill>
          <a:ln>
            <a:solidFill>
              <a:schemeClr val="tx1"/>
            </a:solidFill>
          </a:ln>
        </p:spPr>
        <p:txBody>
          <a:bodyPr vert="horz" wrap="square" lIns="73152" tIns="73152" rIns="73152" bIns="73152" rtlCol="0">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a:t>Text</a:t>
            </a:r>
          </a:p>
        </p:txBody>
      </p:sp>
      <p:sp>
        <p:nvSpPr>
          <p:cNvPr id="102" name="RoundedRectangle" hidden="1"/>
          <p:cNvSpPr txBox="1">
            <a:spLocks/>
          </p:cNvSpPr>
          <p:nvPr userDrawn="1"/>
        </p:nvSpPr>
        <p:spPr bwMode="gray">
          <a:xfrm>
            <a:off x="5286771" y="1624338"/>
            <a:ext cx="1525588" cy="1524000"/>
          </a:xfrm>
          <a:prstGeom prst="roundRect">
            <a:avLst/>
          </a:prstGeom>
          <a:solidFill>
            <a:schemeClr val="accent1"/>
          </a:solidFill>
          <a:ln>
            <a:solidFill>
              <a:schemeClr val="tx1"/>
            </a:solidFill>
          </a:ln>
        </p:spPr>
        <p:txBody>
          <a:bodyPr vert="horz" wrap="square" lIns="73152" tIns="73152" rIns="73152" bIns="73152" rtlCol="0">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r>
              <a:rPr lang="en-US"/>
              <a:t>Text</a:t>
            </a:r>
          </a:p>
        </p:txBody>
      </p:sp>
      <p:sp>
        <p:nvSpPr>
          <p:cNvPr id="103" name="Arrow" hidden="1"/>
          <p:cNvSpPr txBox="1">
            <a:spLocks/>
          </p:cNvSpPr>
          <p:nvPr userDrawn="1"/>
        </p:nvSpPr>
        <p:spPr bwMode="gray">
          <a:xfrm>
            <a:off x="1946174" y="4362178"/>
            <a:ext cx="1830388" cy="914400"/>
          </a:xfrm>
          <a:prstGeom prst="rightArrow">
            <a:avLst>
              <a:gd name="adj1" fmla="val 50000"/>
              <a:gd name="adj2" fmla="val 37097"/>
            </a:avLst>
          </a:prstGeom>
          <a:solidFill>
            <a:schemeClr val="accent1"/>
          </a:solidFill>
          <a:ln>
            <a:solidFill>
              <a:schemeClr val="tx1"/>
            </a:solidFill>
          </a:ln>
        </p:spPr>
        <p:txBody>
          <a:bodyPr vert="horz" wrap="square" lIns="73152" tIns="73152" rIns="73152" bIns="73152" rtlCol="0" anchor="ctr">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sp>
        <p:nvSpPr>
          <p:cNvPr id="76" name="Bracket" hidden="1">
            <a:extLst>
              <a:ext uri="{FF2B5EF4-FFF2-40B4-BE49-F238E27FC236}">
                <a16:creationId xmlns:a16="http://schemas.microsoft.com/office/drawing/2014/main" id="{03378CBE-FB83-478F-9CFD-3D41B39200BE}"/>
              </a:ext>
            </a:extLst>
          </p:cNvPr>
          <p:cNvSpPr>
            <a:spLocks noChangeAspect="1"/>
          </p:cNvSpPr>
          <p:nvPr userDrawn="1">
            <p:custDataLst>
              <p:tags r:id="rId12"/>
            </p:custDataLst>
          </p:nvPr>
        </p:nvSpPr>
        <p:spPr bwMode="gray">
          <a:xfrm>
            <a:off x="6514902" y="3395577"/>
            <a:ext cx="190526" cy="1651001"/>
          </a:xfrm>
          <a:custGeom>
            <a:avLst/>
            <a:gdLst>
              <a:gd name="connsiteX0" fmla="*/ 0 w 237731"/>
              <a:gd name="connsiteY0" fmla="*/ 0 h 2667000"/>
              <a:gd name="connsiteX1" fmla="*/ 174231 w 237731"/>
              <a:gd name="connsiteY1" fmla="*/ 101600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25025 w 237731"/>
              <a:gd name="connsiteY2" fmla="*/ 762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174231 w 174231"/>
              <a:gd name="connsiteY4" fmla="*/ 1905000 h 2667000"/>
              <a:gd name="connsiteX5" fmla="*/ 174231 w 174231"/>
              <a:gd name="connsiteY5" fmla="*/ 2667000 h 2667000"/>
              <a:gd name="connsiteX6" fmla="*/ 47231 w 1742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25025 w 174231"/>
              <a:gd name="connsiteY4" fmla="*/ 889000 h 2667000"/>
              <a:gd name="connsiteX5" fmla="*/ 174231 w 174231"/>
              <a:gd name="connsiteY5" fmla="*/ 2667000 h 2667000"/>
              <a:gd name="connsiteX6" fmla="*/ 47231 w 174231"/>
              <a:gd name="connsiteY6" fmla="*/ 2667000 h 2667000"/>
              <a:gd name="connsiteX0" fmla="*/ 0 w 47231"/>
              <a:gd name="connsiteY0" fmla="*/ 0 h 2667000"/>
              <a:gd name="connsiteX1" fmla="*/ 25025 w 47231"/>
              <a:gd name="connsiteY1" fmla="*/ 0 h 2667000"/>
              <a:gd name="connsiteX2" fmla="*/ 25025 w 47231"/>
              <a:gd name="connsiteY2" fmla="*/ 762000 h 2667000"/>
              <a:gd name="connsiteX3" fmla="*/ 37537 w 47231"/>
              <a:gd name="connsiteY3" fmla="*/ 825500 h 2667000"/>
              <a:gd name="connsiteX4" fmla="*/ 25025 w 47231"/>
              <a:gd name="connsiteY4" fmla="*/ 889000 h 2667000"/>
              <a:gd name="connsiteX5" fmla="*/ 25025 w 47231"/>
              <a:gd name="connsiteY5" fmla="*/ 1651001 h 2667000"/>
              <a:gd name="connsiteX6" fmla="*/ 47231 w 47231"/>
              <a:gd name="connsiteY6" fmla="*/ 2667000 h 2667000"/>
              <a:gd name="connsiteX0" fmla="*/ 0 w 37537"/>
              <a:gd name="connsiteY0" fmla="*/ 0 h 1651001"/>
              <a:gd name="connsiteX1" fmla="*/ 25025 w 37537"/>
              <a:gd name="connsiteY1" fmla="*/ 0 h 1651001"/>
              <a:gd name="connsiteX2" fmla="*/ 25025 w 37537"/>
              <a:gd name="connsiteY2" fmla="*/ 762000 h 1651001"/>
              <a:gd name="connsiteX3" fmla="*/ 37537 w 37537"/>
              <a:gd name="connsiteY3" fmla="*/ 825500 h 1651001"/>
              <a:gd name="connsiteX4" fmla="*/ 25025 w 37537"/>
              <a:gd name="connsiteY4" fmla="*/ 889000 h 1651001"/>
              <a:gd name="connsiteX5" fmla="*/ 25025 w 37537"/>
              <a:gd name="connsiteY5" fmla="*/ 1651001 h 1651001"/>
              <a:gd name="connsiteX6" fmla="*/ 1 w 37537"/>
              <a:gd name="connsiteY6" fmla="*/ 1651001 h 1651001"/>
              <a:gd name="connsiteX0" fmla="*/ 0 w 443862"/>
              <a:gd name="connsiteY0" fmla="*/ 0 h 5119150"/>
              <a:gd name="connsiteX1" fmla="*/ 431350 w 443862"/>
              <a:gd name="connsiteY1" fmla="*/ 3468149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8826 w 443862"/>
              <a:gd name="connsiteY2" fmla="*/ 762000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431350 w 431350"/>
              <a:gd name="connsiteY4" fmla="*/ 4357149 h 5119150"/>
              <a:gd name="connsiteX5" fmla="*/ 431350 w 431350"/>
              <a:gd name="connsiteY5" fmla="*/ 5119150 h 5119150"/>
              <a:gd name="connsiteX6" fmla="*/ 406326 w 431350"/>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8826 w 431350"/>
              <a:gd name="connsiteY4" fmla="*/ 889000 h 5119150"/>
              <a:gd name="connsiteX5" fmla="*/ 431350 w 431350"/>
              <a:gd name="connsiteY5" fmla="*/ 5119150 h 5119150"/>
              <a:gd name="connsiteX6" fmla="*/ 406326 w 431350"/>
              <a:gd name="connsiteY6" fmla="*/ 5119150 h 5119150"/>
              <a:gd name="connsiteX0" fmla="*/ 0 w 406326"/>
              <a:gd name="connsiteY0" fmla="*/ 0 h 5119150"/>
              <a:gd name="connsiteX1" fmla="*/ 8826 w 406326"/>
              <a:gd name="connsiteY1" fmla="*/ 0 h 5119150"/>
              <a:gd name="connsiteX2" fmla="*/ 8826 w 406326"/>
              <a:gd name="connsiteY2" fmla="*/ 762000 h 5119150"/>
              <a:gd name="connsiteX3" fmla="*/ 13239 w 406326"/>
              <a:gd name="connsiteY3" fmla="*/ 825500 h 5119150"/>
              <a:gd name="connsiteX4" fmla="*/ 8826 w 406326"/>
              <a:gd name="connsiteY4" fmla="*/ 889000 h 5119150"/>
              <a:gd name="connsiteX5" fmla="*/ 8826 w 406326"/>
              <a:gd name="connsiteY5" fmla="*/ 1651001 h 5119150"/>
              <a:gd name="connsiteX6" fmla="*/ 406326 w 406326"/>
              <a:gd name="connsiteY6" fmla="*/ 5119150 h 5119150"/>
              <a:gd name="connsiteX0" fmla="*/ 0 w 13239"/>
              <a:gd name="connsiteY0" fmla="*/ 0 h 1651001"/>
              <a:gd name="connsiteX1" fmla="*/ 8826 w 13239"/>
              <a:gd name="connsiteY1" fmla="*/ 0 h 1651001"/>
              <a:gd name="connsiteX2" fmla="*/ 8826 w 13239"/>
              <a:gd name="connsiteY2" fmla="*/ 762000 h 1651001"/>
              <a:gd name="connsiteX3" fmla="*/ 13239 w 13239"/>
              <a:gd name="connsiteY3" fmla="*/ 825500 h 1651001"/>
              <a:gd name="connsiteX4" fmla="*/ 8826 w 13239"/>
              <a:gd name="connsiteY4" fmla="*/ 889000 h 1651001"/>
              <a:gd name="connsiteX5" fmla="*/ 8826 w 13239"/>
              <a:gd name="connsiteY5" fmla="*/ 1651001 h 1651001"/>
              <a:gd name="connsiteX6" fmla="*/ 0 w 13239"/>
              <a:gd name="connsiteY6" fmla="*/ 1651001 h 1651001"/>
              <a:gd name="connsiteX0" fmla="*/ 0 w 438662"/>
              <a:gd name="connsiteY0" fmla="*/ 0 h 5119150"/>
              <a:gd name="connsiteX1" fmla="*/ 434249 w 438662"/>
              <a:gd name="connsiteY1" fmla="*/ 3468149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8826 w 438662"/>
              <a:gd name="connsiteY2" fmla="*/ 762000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434249 w 434249"/>
              <a:gd name="connsiteY4" fmla="*/ 4357149 h 5119150"/>
              <a:gd name="connsiteX5" fmla="*/ 434249 w 434249"/>
              <a:gd name="connsiteY5" fmla="*/ 5119150 h 5119150"/>
              <a:gd name="connsiteX6" fmla="*/ 425423 w 434249"/>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8826 w 434249"/>
              <a:gd name="connsiteY4" fmla="*/ 889000 h 5119150"/>
              <a:gd name="connsiteX5" fmla="*/ 434249 w 434249"/>
              <a:gd name="connsiteY5" fmla="*/ 5119150 h 5119150"/>
              <a:gd name="connsiteX6" fmla="*/ 425423 w 434249"/>
              <a:gd name="connsiteY6" fmla="*/ 5119150 h 5119150"/>
              <a:gd name="connsiteX0" fmla="*/ 0 w 425423"/>
              <a:gd name="connsiteY0" fmla="*/ 0 h 5119150"/>
              <a:gd name="connsiteX1" fmla="*/ 8826 w 425423"/>
              <a:gd name="connsiteY1" fmla="*/ 0 h 5119150"/>
              <a:gd name="connsiteX2" fmla="*/ 8826 w 425423"/>
              <a:gd name="connsiteY2" fmla="*/ 762000 h 5119150"/>
              <a:gd name="connsiteX3" fmla="*/ 13240 w 425423"/>
              <a:gd name="connsiteY3" fmla="*/ 825500 h 5119150"/>
              <a:gd name="connsiteX4" fmla="*/ 8826 w 425423"/>
              <a:gd name="connsiteY4" fmla="*/ 889000 h 5119150"/>
              <a:gd name="connsiteX5" fmla="*/ 8826 w 425423"/>
              <a:gd name="connsiteY5" fmla="*/ 1651001 h 5119150"/>
              <a:gd name="connsiteX6" fmla="*/ 425423 w 425423"/>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466020"/>
              <a:gd name="connsiteY0" fmla="*/ 0 h 5119150"/>
              <a:gd name="connsiteX1" fmla="*/ 461606 w 466020"/>
              <a:gd name="connsiteY1" fmla="*/ 3468149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8826 w 466020"/>
              <a:gd name="connsiteY2" fmla="*/ 762000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461606 w 461606"/>
              <a:gd name="connsiteY4" fmla="*/ 4357149 h 5119150"/>
              <a:gd name="connsiteX5" fmla="*/ 461606 w 461606"/>
              <a:gd name="connsiteY5" fmla="*/ 5119150 h 5119150"/>
              <a:gd name="connsiteX6" fmla="*/ 452780 w 461606"/>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8826 w 461606"/>
              <a:gd name="connsiteY4" fmla="*/ 889000 h 5119150"/>
              <a:gd name="connsiteX5" fmla="*/ 461606 w 461606"/>
              <a:gd name="connsiteY5" fmla="*/ 5119150 h 5119150"/>
              <a:gd name="connsiteX6" fmla="*/ 452780 w 461606"/>
              <a:gd name="connsiteY6" fmla="*/ 5119150 h 5119150"/>
              <a:gd name="connsiteX0" fmla="*/ 0 w 452780"/>
              <a:gd name="connsiteY0" fmla="*/ 0 h 5119150"/>
              <a:gd name="connsiteX1" fmla="*/ 8826 w 452780"/>
              <a:gd name="connsiteY1" fmla="*/ 0 h 5119150"/>
              <a:gd name="connsiteX2" fmla="*/ 8826 w 452780"/>
              <a:gd name="connsiteY2" fmla="*/ 762000 h 5119150"/>
              <a:gd name="connsiteX3" fmla="*/ 13240 w 452780"/>
              <a:gd name="connsiteY3" fmla="*/ 825500 h 5119150"/>
              <a:gd name="connsiteX4" fmla="*/ 8826 w 452780"/>
              <a:gd name="connsiteY4" fmla="*/ 889000 h 5119150"/>
              <a:gd name="connsiteX5" fmla="*/ 8826 w 452780"/>
              <a:gd name="connsiteY5" fmla="*/ 1651001 h 5119150"/>
              <a:gd name="connsiteX6" fmla="*/ 452780 w 452780"/>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83612"/>
              <a:gd name="connsiteY0" fmla="*/ 0 h 5119150"/>
              <a:gd name="connsiteX1" fmla="*/ 79198 w 83612"/>
              <a:gd name="connsiteY1" fmla="*/ 3468149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1372 w 83612"/>
              <a:gd name="connsiteY2" fmla="*/ 762000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79198 w 79198"/>
              <a:gd name="connsiteY4" fmla="*/ 4357149 h 5119150"/>
              <a:gd name="connsiteX5" fmla="*/ 79198 w 79198"/>
              <a:gd name="connsiteY5" fmla="*/ 5119150 h 5119150"/>
              <a:gd name="connsiteX6" fmla="*/ 70372 w 79198"/>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1372 w 79198"/>
              <a:gd name="connsiteY4" fmla="*/ 889000 h 5119150"/>
              <a:gd name="connsiteX5" fmla="*/ 79198 w 79198"/>
              <a:gd name="connsiteY5" fmla="*/ 5119150 h 5119150"/>
              <a:gd name="connsiteX6" fmla="*/ 70372 w 79198"/>
              <a:gd name="connsiteY6" fmla="*/ 5119150 h 5119150"/>
              <a:gd name="connsiteX0" fmla="*/ 0 w 70372"/>
              <a:gd name="connsiteY0" fmla="*/ 0 h 5119150"/>
              <a:gd name="connsiteX1" fmla="*/ 1372 w 70372"/>
              <a:gd name="connsiteY1" fmla="*/ 0 h 5119150"/>
              <a:gd name="connsiteX2" fmla="*/ 1372 w 70372"/>
              <a:gd name="connsiteY2" fmla="*/ 762000 h 5119150"/>
              <a:gd name="connsiteX3" fmla="*/ 2058 w 70372"/>
              <a:gd name="connsiteY3" fmla="*/ 825500 h 5119150"/>
              <a:gd name="connsiteX4" fmla="*/ 1372 w 70372"/>
              <a:gd name="connsiteY4" fmla="*/ 889000 h 5119150"/>
              <a:gd name="connsiteX5" fmla="*/ 1372 w 70372"/>
              <a:gd name="connsiteY5" fmla="*/ 1651001 h 5119150"/>
              <a:gd name="connsiteX6" fmla="*/ 70372 w 70372"/>
              <a:gd name="connsiteY6" fmla="*/ 5119150 h 5119150"/>
              <a:gd name="connsiteX0" fmla="*/ 0 w 2058"/>
              <a:gd name="connsiteY0" fmla="*/ 0 h 1651001"/>
              <a:gd name="connsiteX1" fmla="*/ 1372 w 2058"/>
              <a:gd name="connsiteY1" fmla="*/ 0 h 1651001"/>
              <a:gd name="connsiteX2" fmla="*/ 1372 w 2058"/>
              <a:gd name="connsiteY2" fmla="*/ 762000 h 1651001"/>
              <a:gd name="connsiteX3" fmla="*/ 2058 w 2058"/>
              <a:gd name="connsiteY3" fmla="*/ 825500 h 1651001"/>
              <a:gd name="connsiteX4" fmla="*/ 1372 w 2058"/>
              <a:gd name="connsiteY4" fmla="*/ 889000 h 1651001"/>
              <a:gd name="connsiteX5" fmla="*/ 1372 w 2058"/>
              <a:gd name="connsiteY5" fmla="*/ 1651001 h 1651001"/>
              <a:gd name="connsiteX6" fmla="*/ 0 w 2058"/>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 h="1651001">
                <a:moveTo>
                  <a:pt x="0" y="0"/>
                </a:moveTo>
                <a:lnTo>
                  <a:pt x="1372" y="0"/>
                </a:lnTo>
                <a:lnTo>
                  <a:pt x="1372" y="762000"/>
                </a:lnTo>
                <a:lnTo>
                  <a:pt x="2058" y="825500"/>
                </a:lnTo>
                <a:lnTo>
                  <a:pt x="1372" y="889000"/>
                </a:lnTo>
                <a:lnTo>
                  <a:pt x="1372"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77" name="SingleChevron" hidden="1">
            <a:extLst>
              <a:ext uri="{FF2B5EF4-FFF2-40B4-BE49-F238E27FC236}">
                <a16:creationId xmlns:a16="http://schemas.microsoft.com/office/drawing/2014/main" id="{E60D77BD-A62E-4CA5-9A51-C84D751936C2}"/>
              </a:ext>
            </a:extLst>
          </p:cNvPr>
          <p:cNvSpPr>
            <a:spLocks noChangeAspect="1"/>
          </p:cNvSpPr>
          <p:nvPr userDrawn="1">
            <p:custDataLst>
              <p:tags r:id="rId13"/>
            </p:custDataLst>
          </p:nvPr>
        </p:nvSpPr>
        <p:spPr bwMode="gray">
          <a:xfrm>
            <a:off x="3830992" y="4433899"/>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nvGrpSpPr>
          <p:cNvPr id="78" name="DoubleChevron2" hidden="1">
            <a:extLst>
              <a:ext uri="{FF2B5EF4-FFF2-40B4-BE49-F238E27FC236}">
                <a16:creationId xmlns:a16="http://schemas.microsoft.com/office/drawing/2014/main" id="{6FEDCEFE-A08D-4C06-BC80-77EA60DD4826}"/>
              </a:ext>
            </a:extLst>
          </p:cNvPr>
          <p:cNvGrpSpPr>
            <a:grpSpLocks noChangeAspect="1"/>
          </p:cNvGrpSpPr>
          <p:nvPr userDrawn="1">
            <p:custDataLst>
              <p:tags r:id="rId14"/>
            </p:custDataLst>
          </p:nvPr>
        </p:nvGrpSpPr>
        <p:grpSpPr bwMode="gray">
          <a:xfrm>
            <a:off x="5099495" y="4433899"/>
            <a:ext cx="1242929" cy="1524000"/>
            <a:chOff x="1270000" y="1270000"/>
            <a:chExt cx="2951957" cy="3619500"/>
          </a:xfrm>
          <a:solidFill>
            <a:schemeClr val="accent1"/>
          </a:solidFill>
        </p:grpSpPr>
        <p:sp>
          <p:nvSpPr>
            <p:cNvPr id="79" name="Chevron1">
              <a:extLst>
                <a:ext uri="{FF2B5EF4-FFF2-40B4-BE49-F238E27FC236}">
                  <a16:creationId xmlns:a16="http://schemas.microsoft.com/office/drawing/2014/main" id="{17C1E408-1553-434A-BFC7-03A76C8F21A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0" name="Chevron2">
              <a:extLst>
                <a:ext uri="{FF2B5EF4-FFF2-40B4-BE49-F238E27FC236}">
                  <a16:creationId xmlns:a16="http://schemas.microsoft.com/office/drawing/2014/main" id="{D2E4BF40-AD8C-4178-90D0-BDAB2DF6E5D1}"/>
                </a:ext>
              </a:extLst>
            </p:cNvPr>
            <p:cNvSpPr>
              <a:spLocks noChangeAspect="1"/>
            </p:cNvSpPr>
            <p:nvPr>
              <p:custDataLst>
                <p:tags r:id="rId40"/>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1" name="DoubleChevron" hidden="1">
            <a:extLst>
              <a:ext uri="{FF2B5EF4-FFF2-40B4-BE49-F238E27FC236}">
                <a16:creationId xmlns:a16="http://schemas.microsoft.com/office/drawing/2014/main" id="{B319772F-A619-4A37-8835-3FEA1A1C0AA9}"/>
              </a:ext>
            </a:extLst>
          </p:cNvPr>
          <p:cNvGrpSpPr>
            <a:grpSpLocks noChangeAspect="1"/>
          </p:cNvGrpSpPr>
          <p:nvPr userDrawn="1">
            <p:custDataLst>
              <p:tags r:id="rId15"/>
            </p:custDataLst>
          </p:nvPr>
        </p:nvGrpSpPr>
        <p:grpSpPr bwMode="gray">
          <a:xfrm>
            <a:off x="4291454" y="4433899"/>
            <a:ext cx="1014329" cy="1524000"/>
            <a:chOff x="1270000" y="1270000"/>
            <a:chExt cx="2409032" cy="3619500"/>
          </a:xfrm>
          <a:solidFill>
            <a:schemeClr val="accent1"/>
          </a:solidFill>
        </p:grpSpPr>
        <p:sp>
          <p:nvSpPr>
            <p:cNvPr id="82" name="Chevron1">
              <a:extLst>
                <a:ext uri="{FF2B5EF4-FFF2-40B4-BE49-F238E27FC236}">
                  <a16:creationId xmlns:a16="http://schemas.microsoft.com/office/drawing/2014/main" id="{57EB4BB7-8511-4ADB-82EA-76355A311A60}"/>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3" name="Chevron2">
              <a:extLst>
                <a:ext uri="{FF2B5EF4-FFF2-40B4-BE49-F238E27FC236}">
                  <a16:creationId xmlns:a16="http://schemas.microsoft.com/office/drawing/2014/main" id="{35C48D4F-1AEB-4DAE-854E-C9D344603263}"/>
                </a:ext>
              </a:extLst>
            </p:cNvPr>
            <p:cNvSpPr>
              <a:spLocks noChangeAspect="1"/>
            </p:cNvSpPr>
            <p:nvPr>
              <p:custDataLst>
                <p:tags r:id="rId39"/>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4" name="LegendBoxes" hidden="1">
            <a:extLst>
              <a:ext uri="{FF2B5EF4-FFF2-40B4-BE49-F238E27FC236}">
                <a16:creationId xmlns:a16="http://schemas.microsoft.com/office/drawing/2014/main" id="{9C237DCA-10C7-4200-BCF1-5C9C0E72EDB0}"/>
              </a:ext>
            </a:extLst>
          </p:cNvPr>
          <p:cNvGrpSpPr>
            <a:grpSpLocks/>
          </p:cNvGrpSpPr>
          <p:nvPr userDrawn="1"/>
        </p:nvGrpSpPr>
        <p:grpSpPr bwMode="gray">
          <a:xfrm>
            <a:off x="10818613" y="1198769"/>
            <a:ext cx="763787" cy="996951"/>
            <a:chOff x="4936" y="176"/>
            <a:chExt cx="481" cy="628"/>
          </a:xfrm>
        </p:grpSpPr>
        <p:sp>
          <p:nvSpPr>
            <p:cNvPr id="85" name="Legend1">
              <a:extLst>
                <a:ext uri="{FF2B5EF4-FFF2-40B4-BE49-F238E27FC236}">
                  <a16:creationId xmlns:a16="http://schemas.microsoft.com/office/drawing/2014/main" id="{EB2D023B-B5E7-4C62-9412-E0CCE214D227}"/>
                </a:ext>
              </a:extLst>
            </p:cNvPr>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6" name="LegendRectangle1">
              <a:extLst>
                <a:ext uri="{FF2B5EF4-FFF2-40B4-BE49-F238E27FC236}">
                  <a16:creationId xmlns:a16="http://schemas.microsoft.com/office/drawing/2014/main" id="{DD2C6EC2-28D0-4B3C-A6B8-A280CBFE9EEE}"/>
                </a:ext>
              </a:extLst>
            </p:cNvPr>
            <p:cNvSpPr>
              <a:spLocks noChangeArrowheads="1"/>
            </p:cNvSpPr>
            <p:nvPr/>
          </p:nvSpPr>
          <p:spPr bwMode="gray">
            <a:xfrm>
              <a:off x="4936" y="182"/>
              <a:ext cx="104" cy="104"/>
            </a:xfrm>
            <a:prstGeom prst="rect">
              <a:avLst/>
            </a:prstGeom>
            <a:solidFill>
              <a:srgbClr val="57FF7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7" name="Legend2">
              <a:extLst>
                <a:ext uri="{FF2B5EF4-FFF2-40B4-BE49-F238E27FC236}">
                  <a16:creationId xmlns:a16="http://schemas.microsoft.com/office/drawing/2014/main" id="{013CDFD3-E919-4798-B18C-A575039245D5}"/>
                </a:ext>
              </a:extLst>
            </p:cNvPr>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8" name="LegendRectangle2">
              <a:extLst>
                <a:ext uri="{FF2B5EF4-FFF2-40B4-BE49-F238E27FC236}">
                  <a16:creationId xmlns:a16="http://schemas.microsoft.com/office/drawing/2014/main" id="{E5798A9D-0E96-40C8-8E58-080D48A7CD1D}"/>
                </a:ext>
              </a:extLst>
            </p:cNvPr>
            <p:cNvSpPr>
              <a:spLocks noChangeArrowheads="1"/>
            </p:cNvSpPr>
            <p:nvPr/>
          </p:nvSpPr>
          <p:spPr bwMode="gray">
            <a:xfrm>
              <a:off x="4936" y="352"/>
              <a:ext cx="104" cy="104"/>
            </a:xfrm>
            <a:prstGeom prst="rect">
              <a:avLst/>
            </a:prstGeom>
            <a:solidFill>
              <a:srgbClr val="1AB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9" name="Legend3">
              <a:extLst>
                <a:ext uri="{FF2B5EF4-FFF2-40B4-BE49-F238E27FC236}">
                  <a16:creationId xmlns:a16="http://schemas.microsoft.com/office/drawing/2014/main" id="{5D401F93-351C-4F43-A16E-949E06E55283}"/>
                </a:ext>
              </a:extLst>
            </p:cNvPr>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0" name="LegendRectangle3">
              <a:extLst>
                <a:ext uri="{FF2B5EF4-FFF2-40B4-BE49-F238E27FC236}">
                  <a16:creationId xmlns:a16="http://schemas.microsoft.com/office/drawing/2014/main" id="{18128B30-7107-4714-B19A-B97791A280B6}"/>
                </a:ext>
              </a:extLst>
            </p:cNvPr>
            <p:cNvSpPr>
              <a:spLocks noChangeArrowheads="1"/>
            </p:cNvSpPr>
            <p:nvPr/>
          </p:nvSpPr>
          <p:spPr bwMode="gray">
            <a:xfrm>
              <a:off x="4936" y="523"/>
              <a:ext cx="104" cy="104"/>
            </a:xfrm>
            <a:prstGeom prst="rect">
              <a:avLst/>
            </a:prstGeom>
            <a:solidFill>
              <a:srgbClr val="664D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91" name="Legend4">
              <a:extLst>
                <a:ext uri="{FF2B5EF4-FFF2-40B4-BE49-F238E27FC236}">
                  <a16:creationId xmlns:a16="http://schemas.microsoft.com/office/drawing/2014/main" id="{A20C8F97-B93B-4E1E-85BD-F963B3CC4CCC}"/>
                </a:ext>
              </a:extLst>
            </p:cNvPr>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2" name="LegendRectangle4">
              <a:extLst>
                <a:ext uri="{FF2B5EF4-FFF2-40B4-BE49-F238E27FC236}">
                  <a16:creationId xmlns:a16="http://schemas.microsoft.com/office/drawing/2014/main" id="{58194082-F22A-4D6C-BF90-2137D7493A4D}"/>
                </a:ext>
              </a:extLst>
            </p:cNvPr>
            <p:cNvSpPr>
              <a:spLocks noChangeArrowheads="1"/>
            </p:cNvSpPr>
            <p:nvPr/>
          </p:nvSpPr>
          <p:spPr bwMode="gray">
            <a:xfrm>
              <a:off x="4936" y="694"/>
              <a:ext cx="104" cy="104"/>
            </a:xfrm>
            <a:prstGeom prst="rect">
              <a:avLst/>
            </a:prstGeom>
            <a:solidFill>
              <a:srgbClr val="0D4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93" name="LegendLines" hidden="1">
            <a:extLst>
              <a:ext uri="{FF2B5EF4-FFF2-40B4-BE49-F238E27FC236}">
                <a16:creationId xmlns:a16="http://schemas.microsoft.com/office/drawing/2014/main" id="{80EA943C-A04B-4DFA-8E73-163E0B650A73}"/>
              </a:ext>
            </a:extLst>
          </p:cNvPr>
          <p:cNvGrpSpPr/>
          <p:nvPr userDrawn="1"/>
        </p:nvGrpSpPr>
        <p:grpSpPr bwMode="gray">
          <a:xfrm>
            <a:off x="10510558" y="1198769"/>
            <a:ext cx="1071842" cy="730251"/>
            <a:chOff x="7740638" y="619221"/>
            <a:chExt cx="1071842" cy="730251"/>
          </a:xfrm>
        </p:grpSpPr>
        <p:sp>
          <p:nvSpPr>
            <p:cNvPr id="94" name="LineLegend1">
              <a:extLst>
                <a:ext uri="{FF2B5EF4-FFF2-40B4-BE49-F238E27FC236}">
                  <a16:creationId xmlns:a16="http://schemas.microsoft.com/office/drawing/2014/main" id="{BE230623-0273-4B11-A460-045595F1852B}"/>
                </a:ext>
              </a:extLst>
            </p:cNvPr>
            <p:cNvSpPr>
              <a:spLocks noChangeShapeType="1"/>
            </p:cNvSpPr>
            <p:nvPr/>
          </p:nvSpPr>
          <p:spPr bwMode="gray">
            <a:xfrm>
              <a:off x="7740638" y="711296"/>
              <a:ext cx="457319" cy="0"/>
            </a:xfrm>
            <a:prstGeom prst="line">
              <a:avLst/>
            </a:prstGeom>
            <a:noFill/>
            <a:ln w="28575">
              <a:solidFill>
                <a:srgbClr val="0D4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5" name="LineLegend2">
              <a:extLst>
                <a:ext uri="{FF2B5EF4-FFF2-40B4-BE49-F238E27FC236}">
                  <a16:creationId xmlns:a16="http://schemas.microsoft.com/office/drawing/2014/main" id="{1A0431A9-E5D0-4632-8BC7-9F196B4F9A19}"/>
                </a:ext>
              </a:extLst>
            </p:cNvPr>
            <p:cNvSpPr>
              <a:spLocks noChangeShapeType="1"/>
            </p:cNvSpPr>
            <p:nvPr/>
          </p:nvSpPr>
          <p:spPr bwMode="gray">
            <a:xfrm>
              <a:off x="7740638" y="984347"/>
              <a:ext cx="457319" cy="0"/>
            </a:xfrm>
            <a:prstGeom prst="line">
              <a:avLst/>
            </a:prstGeom>
            <a:noFill/>
            <a:ln w="28575">
              <a:solidFill>
                <a:srgbClr val="0D40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6" name="LineLegend3">
              <a:extLst>
                <a:ext uri="{FF2B5EF4-FFF2-40B4-BE49-F238E27FC236}">
                  <a16:creationId xmlns:a16="http://schemas.microsoft.com/office/drawing/2014/main" id="{A5D065B3-FD8E-46B0-95C2-F0D7722BA859}"/>
                </a:ext>
              </a:extLst>
            </p:cNvPr>
            <p:cNvSpPr>
              <a:spLocks noChangeShapeType="1"/>
            </p:cNvSpPr>
            <p:nvPr/>
          </p:nvSpPr>
          <p:spPr bwMode="gray">
            <a:xfrm>
              <a:off x="7740638" y="1257397"/>
              <a:ext cx="457319" cy="0"/>
            </a:xfrm>
            <a:prstGeom prst="line">
              <a:avLst/>
            </a:prstGeom>
            <a:noFill/>
            <a:ln w="28575">
              <a:solidFill>
                <a:srgbClr val="0D40F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7" name="Legend1">
              <a:extLst>
                <a:ext uri="{FF2B5EF4-FFF2-40B4-BE49-F238E27FC236}">
                  <a16:creationId xmlns:a16="http://schemas.microsoft.com/office/drawing/2014/main" id="{44632945-4752-4575-92CD-9378CE02E679}"/>
                </a:ext>
              </a:extLst>
            </p:cNvPr>
            <p:cNvSpPr>
              <a:spLocks noChangeArrowheads="1"/>
            </p:cNvSpPr>
            <p:nvPr/>
          </p:nvSpPr>
          <p:spPr bwMode="gray">
            <a:xfrm>
              <a:off x="8302760" y="619221"/>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8" name="Legend2">
              <a:extLst>
                <a:ext uri="{FF2B5EF4-FFF2-40B4-BE49-F238E27FC236}">
                  <a16:creationId xmlns:a16="http://schemas.microsoft.com/office/drawing/2014/main" id="{0E606291-8B72-47A8-9122-CF6D12F129C4}"/>
                </a:ext>
              </a:extLst>
            </p:cNvPr>
            <p:cNvSpPr>
              <a:spLocks noChangeArrowheads="1"/>
            </p:cNvSpPr>
            <p:nvPr/>
          </p:nvSpPr>
          <p:spPr bwMode="gray">
            <a:xfrm>
              <a:off x="8302760" y="89227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9" name="Legend3">
              <a:extLst>
                <a:ext uri="{FF2B5EF4-FFF2-40B4-BE49-F238E27FC236}">
                  <a16:creationId xmlns:a16="http://schemas.microsoft.com/office/drawing/2014/main" id="{0918CFAB-B8D5-4A37-919D-807A700B2DE8}"/>
                </a:ext>
              </a:extLst>
            </p:cNvPr>
            <p:cNvSpPr>
              <a:spLocks noChangeArrowheads="1"/>
            </p:cNvSpPr>
            <p:nvPr/>
          </p:nvSpPr>
          <p:spPr bwMode="gray">
            <a:xfrm>
              <a:off x="8302760" y="116532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grpSp>
        <p:nvGrpSpPr>
          <p:cNvPr id="104" name="LegendMoons" hidden="1">
            <a:extLst>
              <a:ext uri="{FF2B5EF4-FFF2-40B4-BE49-F238E27FC236}">
                <a16:creationId xmlns:a16="http://schemas.microsoft.com/office/drawing/2014/main" id="{C829E7EF-CC67-457B-9EEF-6A378FFD1079}"/>
              </a:ext>
            </a:extLst>
          </p:cNvPr>
          <p:cNvGrpSpPr/>
          <p:nvPr userDrawn="1"/>
        </p:nvGrpSpPr>
        <p:grpSpPr bwMode="gray">
          <a:xfrm>
            <a:off x="10751754" y="1198769"/>
            <a:ext cx="830646" cy="1306516"/>
            <a:chOff x="7769225" y="2105025"/>
            <a:chExt cx="830430" cy="1306516"/>
          </a:xfrm>
        </p:grpSpPr>
        <p:grpSp>
          <p:nvGrpSpPr>
            <p:cNvPr id="105" name="MoonLegend1">
              <a:extLst>
                <a:ext uri="{FF2B5EF4-FFF2-40B4-BE49-F238E27FC236}">
                  <a16:creationId xmlns:a16="http://schemas.microsoft.com/office/drawing/2014/main" id="{B02195D6-4668-4949-8940-FC2F57B12647}"/>
                </a:ext>
              </a:extLst>
            </p:cNvPr>
            <p:cNvGrpSpPr>
              <a:grpSpLocks noChangeAspect="1"/>
            </p:cNvGrpSpPr>
            <p:nvPr>
              <p:custDataLst>
                <p:tags r:id="rId24"/>
              </p:custDataLst>
            </p:nvPr>
          </p:nvGrpSpPr>
          <p:grpSpPr bwMode="gray">
            <a:xfrm>
              <a:off x="7769225" y="2105025"/>
              <a:ext cx="209550" cy="209551"/>
              <a:chOff x="4533" y="183"/>
              <a:chExt cx="144" cy="144"/>
            </a:xfrm>
          </p:grpSpPr>
          <p:sp>
            <p:nvSpPr>
              <p:cNvPr id="164" name="Oval 38">
                <a:extLst>
                  <a:ext uri="{FF2B5EF4-FFF2-40B4-BE49-F238E27FC236}">
                    <a16:creationId xmlns:a16="http://schemas.microsoft.com/office/drawing/2014/main" id="{A64A4B67-409D-4208-906B-DCBE7861669D}"/>
                  </a:ext>
                </a:extLst>
              </p:cNvPr>
              <p:cNvSpPr>
                <a:spLocks noChangeAspect="1" noChangeArrowheads="1"/>
              </p:cNvSpPr>
              <p:nvPr>
                <p:custDataLst>
                  <p:tags r:id="rId37"/>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5" name="Arc 39">
                <a:extLst>
                  <a:ext uri="{FF2B5EF4-FFF2-40B4-BE49-F238E27FC236}">
                    <a16:creationId xmlns:a16="http://schemas.microsoft.com/office/drawing/2014/main" id="{432F22D4-8614-4B11-A7CE-977E19115605}"/>
                  </a:ext>
                </a:extLst>
              </p:cNvPr>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6" name="MoonLegend2">
              <a:extLst>
                <a:ext uri="{FF2B5EF4-FFF2-40B4-BE49-F238E27FC236}">
                  <a16:creationId xmlns:a16="http://schemas.microsoft.com/office/drawing/2014/main" id="{341E0ABE-78F9-4703-B875-5F848FAA5F64}"/>
                </a:ext>
              </a:extLst>
            </p:cNvPr>
            <p:cNvGrpSpPr>
              <a:grpSpLocks noChangeAspect="1"/>
            </p:cNvGrpSpPr>
            <p:nvPr>
              <p:custDataLst>
                <p:tags r:id="rId25"/>
              </p:custDataLst>
            </p:nvPr>
          </p:nvGrpSpPr>
          <p:grpSpPr bwMode="gray">
            <a:xfrm>
              <a:off x="7769225" y="2379266"/>
              <a:ext cx="209550" cy="209551"/>
              <a:chOff x="1694" y="2044"/>
              <a:chExt cx="160" cy="160"/>
            </a:xfrm>
          </p:grpSpPr>
          <p:sp>
            <p:nvSpPr>
              <p:cNvPr id="162" name="Oval 41">
                <a:extLst>
                  <a:ext uri="{FF2B5EF4-FFF2-40B4-BE49-F238E27FC236}">
                    <a16:creationId xmlns:a16="http://schemas.microsoft.com/office/drawing/2014/main" id="{6D49FD37-5960-4AAE-9CD4-46766F747049}"/>
                  </a:ext>
                </a:extLst>
              </p:cNvPr>
              <p:cNvSpPr>
                <a:spLocks noChangeAspect="1" noChangeArrowheads="1"/>
              </p:cNvSpPr>
              <p:nvPr>
                <p:custDataLst>
                  <p:tags r:id="rId35"/>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3" name="Arc 42">
                <a:extLst>
                  <a:ext uri="{FF2B5EF4-FFF2-40B4-BE49-F238E27FC236}">
                    <a16:creationId xmlns:a16="http://schemas.microsoft.com/office/drawing/2014/main" id="{1DC626E1-90DA-4F0E-BD7D-C9C4F7FA287F}"/>
                  </a:ext>
                </a:extLst>
              </p:cNvPr>
              <p:cNvSpPr>
                <a:spLocks noChangeAspect="1"/>
              </p:cNvSpPr>
              <p:nvPr>
                <p:custDataLst>
                  <p:tags r:id="rId36"/>
                </p:custDataLst>
              </p:nvPr>
            </p:nvSpPr>
            <p:spPr bwMode="gray">
              <a:xfrm>
                <a:off x="1694" y="2044"/>
                <a:ext cx="160" cy="160"/>
              </a:xfrm>
              <a:prstGeom prst="arc">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7" name="MoonLegend4">
              <a:extLst>
                <a:ext uri="{FF2B5EF4-FFF2-40B4-BE49-F238E27FC236}">
                  <a16:creationId xmlns:a16="http://schemas.microsoft.com/office/drawing/2014/main" id="{56F66714-4CF0-4E82-99F4-E4DF559D56CA}"/>
                </a:ext>
              </a:extLst>
            </p:cNvPr>
            <p:cNvGrpSpPr>
              <a:grpSpLocks noChangeAspect="1"/>
            </p:cNvGrpSpPr>
            <p:nvPr>
              <p:custDataLst>
                <p:tags r:id="rId26"/>
              </p:custDataLst>
            </p:nvPr>
          </p:nvGrpSpPr>
          <p:grpSpPr bwMode="gray">
            <a:xfrm>
              <a:off x="7769225" y="2927748"/>
              <a:ext cx="209550" cy="209551"/>
              <a:chOff x="4495" y="1198"/>
              <a:chExt cx="160" cy="160"/>
            </a:xfrm>
          </p:grpSpPr>
          <p:sp>
            <p:nvSpPr>
              <p:cNvPr id="160" name="Oval 47">
                <a:extLst>
                  <a:ext uri="{FF2B5EF4-FFF2-40B4-BE49-F238E27FC236}">
                    <a16:creationId xmlns:a16="http://schemas.microsoft.com/office/drawing/2014/main" id="{283049F2-B359-4AC2-BD07-0016597D24C7}"/>
                  </a:ext>
                </a:extLst>
              </p:cNvPr>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1" name="Arc 48">
                <a:extLst>
                  <a:ext uri="{FF2B5EF4-FFF2-40B4-BE49-F238E27FC236}">
                    <a16:creationId xmlns:a16="http://schemas.microsoft.com/office/drawing/2014/main" id="{6E1879E5-F86D-4196-B5E0-0591FC08FF43}"/>
                  </a:ext>
                </a:extLst>
              </p:cNvPr>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12" name="MoonLegend5">
              <a:extLst>
                <a:ext uri="{FF2B5EF4-FFF2-40B4-BE49-F238E27FC236}">
                  <a16:creationId xmlns:a16="http://schemas.microsoft.com/office/drawing/2014/main" id="{3AB58AD0-F400-4E67-A3C4-C3AEC77B7897}"/>
                </a:ext>
              </a:extLst>
            </p:cNvPr>
            <p:cNvGrpSpPr>
              <a:grpSpLocks noChangeAspect="1"/>
            </p:cNvGrpSpPr>
            <p:nvPr>
              <p:custDataLst>
                <p:tags r:id="rId27"/>
              </p:custDataLst>
            </p:nvPr>
          </p:nvGrpSpPr>
          <p:grpSpPr bwMode="gray">
            <a:xfrm>
              <a:off x="7769225" y="3201990"/>
              <a:ext cx="209550" cy="209551"/>
              <a:chOff x="4495" y="1440"/>
              <a:chExt cx="160" cy="160"/>
            </a:xfrm>
          </p:grpSpPr>
          <p:sp>
            <p:nvSpPr>
              <p:cNvPr id="158" name="Oval 50">
                <a:extLst>
                  <a:ext uri="{FF2B5EF4-FFF2-40B4-BE49-F238E27FC236}">
                    <a16:creationId xmlns:a16="http://schemas.microsoft.com/office/drawing/2014/main" id="{7D0BD859-886A-435B-8351-55523200DC87}"/>
                  </a:ext>
                </a:extLst>
              </p:cNvPr>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9" name="Oval 51">
                <a:extLst>
                  <a:ext uri="{FF2B5EF4-FFF2-40B4-BE49-F238E27FC236}">
                    <a16:creationId xmlns:a16="http://schemas.microsoft.com/office/drawing/2014/main" id="{F61A0703-EE33-4394-9860-CEDC1CECFDAD}"/>
                  </a:ext>
                </a:extLst>
              </p:cNvPr>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sp>
          <p:nvSpPr>
            <p:cNvPr id="150" name="Legend1">
              <a:extLst>
                <a:ext uri="{FF2B5EF4-FFF2-40B4-BE49-F238E27FC236}">
                  <a16:creationId xmlns:a16="http://schemas.microsoft.com/office/drawing/2014/main" id="{0DB0EFEB-8498-4E58-9711-0647C320BAF1}"/>
                </a:ext>
              </a:extLst>
            </p:cNvPr>
            <p:cNvSpPr>
              <a:spLocks noChangeArrowheads="1"/>
            </p:cNvSpPr>
            <p:nvPr/>
          </p:nvSpPr>
          <p:spPr bwMode="gray">
            <a:xfrm>
              <a:off x="8089900" y="211746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1" name="Legend2">
              <a:extLst>
                <a:ext uri="{FF2B5EF4-FFF2-40B4-BE49-F238E27FC236}">
                  <a16:creationId xmlns:a16="http://schemas.microsoft.com/office/drawing/2014/main" id="{E0E69328-68E8-48A8-BA50-389CF79224B5}"/>
                </a:ext>
              </a:extLst>
            </p:cNvPr>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2" name="Legend3">
              <a:extLst>
                <a:ext uri="{FF2B5EF4-FFF2-40B4-BE49-F238E27FC236}">
                  <a16:creationId xmlns:a16="http://schemas.microsoft.com/office/drawing/2014/main" id="{23FFB7E6-2148-4F7D-8D6B-D7B0328C8AE9}"/>
                </a:ext>
              </a:extLst>
            </p:cNvPr>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3" name="Legend4">
              <a:extLst>
                <a:ext uri="{FF2B5EF4-FFF2-40B4-BE49-F238E27FC236}">
                  <a16:creationId xmlns:a16="http://schemas.microsoft.com/office/drawing/2014/main" id="{2B20045F-AD8B-400F-BC8E-6120D380B904}"/>
                </a:ext>
              </a:extLst>
            </p:cNvPr>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4" name="Legend5">
              <a:extLst>
                <a:ext uri="{FF2B5EF4-FFF2-40B4-BE49-F238E27FC236}">
                  <a16:creationId xmlns:a16="http://schemas.microsoft.com/office/drawing/2014/main" id="{3E11B994-B418-41EF-AED8-4FCB5B085F28}"/>
                </a:ext>
              </a:extLst>
            </p:cNvPr>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nvGrpSpPr>
            <p:cNvPr id="155" name="MoonLegend3">
              <a:extLst>
                <a:ext uri="{FF2B5EF4-FFF2-40B4-BE49-F238E27FC236}">
                  <a16:creationId xmlns:a16="http://schemas.microsoft.com/office/drawing/2014/main" id="{11F36171-C8F9-44BA-82CF-6E783564D2A1}"/>
                </a:ext>
              </a:extLst>
            </p:cNvPr>
            <p:cNvGrpSpPr>
              <a:grpSpLocks noChangeAspect="1"/>
            </p:cNvGrpSpPr>
            <p:nvPr>
              <p:custDataLst>
                <p:tags r:id="rId28"/>
              </p:custDataLst>
            </p:nvPr>
          </p:nvGrpSpPr>
          <p:grpSpPr bwMode="gray">
            <a:xfrm>
              <a:off x="7769225" y="2653507"/>
              <a:ext cx="209550" cy="209551"/>
              <a:chOff x="4495" y="1198"/>
              <a:chExt cx="160" cy="160"/>
            </a:xfrm>
          </p:grpSpPr>
          <p:sp>
            <p:nvSpPr>
              <p:cNvPr id="156" name="Oval 47">
                <a:extLst>
                  <a:ext uri="{FF2B5EF4-FFF2-40B4-BE49-F238E27FC236}">
                    <a16:creationId xmlns:a16="http://schemas.microsoft.com/office/drawing/2014/main" id="{A2408FFE-C82E-472A-892F-C5C0581AFD1E}"/>
                  </a:ext>
                </a:extLst>
              </p:cNvPr>
              <p:cNvSpPr>
                <a:spLocks noChangeAspect="1" noChangeArrowheads="1"/>
              </p:cNvSpPr>
              <p:nvPr>
                <p:custDataLst>
                  <p:tags r:id="rId29"/>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7" name="Arc 48">
                <a:extLst>
                  <a:ext uri="{FF2B5EF4-FFF2-40B4-BE49-F238E27FC236}">
                    <a16:creationId xmlns:a16="http://schemas.microsoft.com/office/drawing/2014/main" id="{0470043B-DF7A-49CE-BEEC-126FE1B402EE}"/>
                  </a:ext>
                </a:extLst>
              </p:cNvPr>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grpSp>
        <p:nvGrpSpPr>
          <p:cNvPr id="166" name="Moon" hidden="1">
            <a:extLst>
              <a:ext uri="{FF2B5EF4-FFF2-40B4-BE49-F238E27FC236}">
                <a16:creationId xmlns:a16="http://schemas.microsoft.com/office/drawing/2014/main" id="{730B6F2A-7178-45B9-AC76-832A248C1E92}"/>
              </a:ext>
            </a:extLst>
          </p:cNvPr>
          <p:cNvGrpSpPr/>
          <p:nvPr userDrawn="1">
            <p:custDataLst>
              <p:tags r:id="rId16"/>
            </p:custDataLst>
          </p:nvPr>
        </p:nvGrpSpPr>
        <p:grpSpPr bwMode="gray">
          <a:xfrm>
            <a:off x="11328334" y="2420259"/>
            <a:ext cx="254066" cy="254000"/>
            <a:chOff x="762000" y="1270000"/>
            <a:chExt cx="254000" cy="254000"/>
          </a:xfrm>
        </p:grpSpPr>
        <p:sp>
          <p:nvSpPr>
            <p:cNvPr id="167" name="Oval 166">
              <a:extLst>
                <a:ext uri="{FF2B5EF4-FFF2-40B4-BE49-F238E27FC236}">
                  <a16:creationId xmlns:a16="http://schemas.microsoft.com/office/drawing/2014/main" id="{ADAA1916-FD15-4D18-95EA-300F5F140AD1}"/>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n-lt"/>
              </a:endParaRPr>
            </a:p>
          </p:txBody>
        </p:sp>
        <p:sp>
          <p:nvSpPr>
            <p:cNvPr id="168" name="Arc 167">
              <a:extLst>
                <a:ext uri="{FF2B5EF4-FFF2-40B4-BE49-F238E27FC236}">
                  <a16:creationId xmlns:a16="http://schemas.microsoft.com/office/drawing/2014/main" id="{5BA95C87-C554-4CF6-8F4E-C5DD023FCFFC}"/>
                </a:ext>
              </a:extLst>
            </p:cNvPr>
            <p:cNvSpPr/>
            <p:nvPr/>
          </p:nvSpPr>
          <p:spPr bwMode="gray">
            <a:xfrm>
              <a:off x="762000" y="1270000"/>
              <a:ext cx="254000" cy="254000"/>
            </a:xfrm>
            <a:prstGeom prst="arc">
              <a:avLst/>
            </a:prstGeom>
            <a:solidFill>
              <a:schemeClr val="accent6"/>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mn-lt"/>
              </a:endParaRPr>
            </a:p>
          </p:txBody>
        </p:sp>
      </p:grpSp>
      <p:grpSp>
        <p:nvGrpSpPr>
          <p:cNvPr id="113" name="SplitFlow" hidden="1">
            <a:extLst>
              <a:ext uri="{FF2B5EF4-FFF2-40B4-BE49-F238E27FC236}">
                <a16:creationId xmlns:a16="http://schemas.microsoft.com/office/drawing/2014/main" id="{DAE9ACD0-18BD-405A-8E4D-20D36BDA4FB0}"/>
              </a:ext>
            </a:extLst>
          </p:cNvPr>
          <p:cNvGrpSpPr>
            <a:grpSpLocks/>
          </p:cNvGrpSpPr>
          <p:nvPr userDrawn="1">
            <p:custDataLst>
              <p:tags r:id="rId17"/>
            </p:custDataLst>
          </p:nvPr>
        </p:nvGrpSpPr>
        <p:grpSpPr bwMode="gray">
          <a:xfrm>
            <a:off x="3953713" y="3395577"/>
            <a:ext cx="1829276" cy="914400"/>
            <a:chOff x="1003298" y="1257300"/>
            <a:chExt cx="1828804" cy="914400"/>
          </a:xfrm>
        </p:grpSpPr>
        <p:sp>
          <p:nvSpPr>
            <p:cNvPr id="114" name="Freeform: Shape 113">
              <a:extLst>
                <a:ext uri="{FF2B5EF4-FFF2-40B4-BE49-F238E27FC236}">
                  <a16:creationId xmlns:a16="http://schemas.microsoft.com/office/drawing/2014/main" id="{8DB29E77-7C19-4263-AAD5-BBF0EF0DBE87}"/>
                </a:ext>
              </a:extLst>
            </p:cNvPr>
            <p:cNvSpPr/>
            <p:nvPr>
              <p:custDataLst>
                <p:tags r:id="rId20"/>
              </p:custDataLst>
            </p:nvPr>
          </p:nvSpPr>
          <p:spPr bwMode="gray">
            <a:xfrm>
              <a:off x="1003298" y="1257300"/>
              <a:ext cx="1828804"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1"/>
                <a:gd name="connsiteY0" fmla="*/ 0 h 457200"/>
                <a:gd name="connsiteX1" fmla="*/ 1664209 w 1828801"/>
                <a:gd name="connsiteY1" fmla="*/ 0 h 457200"/>
                <a:gd name="connsiteX2" fmla="*/ 1828801 w 1828801"/>
                <a:gd name="connsiteY2" fmla="*/ 457200 h 457200"/>
                <a:gd name="connsiteX3" fmla="*/ 1 w 1828801"/>
                <a:gd name="connsiteY3" fmla="*/ 457200 h 457200"/>
                <a:gd name="connsiteX0" fmla="*/ 0 w 1828801"/>
                <a:gd name="connsiteY0" fmla="*/ 0 h 457200"/>
                <a:gd name="connsiteX1" fmla="*/ 1697128 w 1828801"/>
                <a:gd name="connsiteY1" fmla="*/ 0 h 457200"/>
                <a:gd name="connsiteX2" fmla="*/ 1828801 w 1828801"/>
                <a:gd name="connsiteY2" fmla="*/ 457200 h 457200"/>
                <a:gd name="connsiteX3" fmla="*/ 1 w 1828801"/>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64592 w 1828802"/>
                <a:gd name="connsiteY3" fmla="*/ 457200 h 457200"/>
                <a:gd name="connsiteX0" fmla="*/ 0 w 1828803"/>
                <a:gd name="connsiteY0" fmla="*/ 0 h 457200"/>
                <a:gd name="connsiteX1" fmla="*/ 1664211 w 1828803"/>
                <a:gd name="connsiteY1" fmla="*/ 0 h 457200"/>
                <a:gd name="connsiteX2" fmla="*/ 1828803 w 1828803"/>
                <a:gd name="connsiteY2" fmla="*/ 457200 h 457200"/>
                <a:gd name="connsiteX3" fmla="*/ 164593 w 1828803"/>
                <a:gd name="connsiteY3" fmla="*/ 457200 h 457200"/>
                <a:gd name="connsiteX0" fmla="*/ 0 w 1828803"/>
                <a:gd name="connsiteY0" fmla="*/ 0 h 457200"/>
                <a:gd name="connsiteX1" fmla="*/ 1664212 w 1828803"/>
                <a:gd name="connsiteY1" fmla="*/ 0 h 457200"/>
                <a:gd name="connsiteX2" fmla="*/ 1828803 w 1828803"/>
                <a:gd name="connsiteY2" fmla="*/ 457200 h 457200"/>
                <a:gd name="connsiteX3" fmla="*/ 164593 w 1828803"/>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164593 w 1828804"/>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0 w 1828804"/>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4" h="457200">
                  <a:moveTo>
                    <a:pt x="0" y="0"/>
                  </a:moveTo>
                  <a:lnTo>
                    <a:pt x="1664212" y="0"/>
                  </a:lnTo>
                  <a:lnTo>
                    <a:pt x="1828804"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5" name="TextBox 114">
              <a:extLst>
                <a:ext uri="{FF2B5EF4-FFF2-40B4-BE49-F238E27FC236}">
                  <a16:creationId xmlns:a16="http://schemas.microsoft.com/office/drawing/2014/main" id="{623038F2-F472-4A50-A4EB-459EB326C243}"/>
                </a:ext>
              </a:extLst>
            </p:cNvPr>
            <p:cNvSpPr txBox="1"/>
            <p:nvPr>
              <p:custDataLst>
                <p:tags r:id="rId21"/>
              </p:custDataLst>
            </p:nvPr>
          </p:nvSpPr>
          <p:spPr bwMode="gray">
            <a:xfrm>
              <a:off x="1066798" y="13144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sp>
          <p:nvSpPr>
            <p:cNvPr id="116" name="Freeform: Shape 115">
              <a:extLst>
                <a:ext uri="{FF2B5EF4-FFF2-40B4-BE49-F238E27FC236}">
                  <a16:creationId xmlns:a16="http://schemas.microsoft.com/office/drawing/2014/main" id="{4D42C1EB-4340-443C-B175-AE72B466F2B6}"/>
                </a:ext>
              </a:extLst>
            </p:cNvPr>
            <p:cNvSpPr/>
            <p:nvPr>
              <p:custDataLst>
                <p:tags r:id="rId22"/>
              </p:custDataLst>
            </p:nvPr>
          </p:nvSpPr>
          <p:spPr bwMode="gray">
            <a:xfrm>
              <a:off x="1003298" y="1714500"/>
              <a:ext cx="1828803"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1828801 w 1828801"/>
                <a:gd name="connsiteY0" fmla="*/ 0 h 457200"/>
                <a:gd name="connsiteX1" fmla="*/ 832104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31674 w 1828801"/>
                <a:gd name="connsiteY3" fmla="*/ 0 h 457200"/>
                <a:gd name="connsiteX0" fmla="*/ 1828802 w 1828802"/>
                <a:gd name="connsiteY0" fmla="*/ 0 h 457200"/>
                <a:gd name="connsiteX1" fmla="*/ 1697127 w 1828802"/>
                <a:gd name="connsiteY1" fmla="*/ 457200 h 457200"/>
                <a:gd name="connsiteX2" fmla="*/ 0 w 1828802"/>
                <a:gd name="connsiteY2" fmla="*/ 457200 h 457200"/>
                <a:gd name="connsiteX3" fmla="*/ 131674 w 1828802"/>
                <a:gd name="connsiteY3" fmla="*/ 0 h 457200"/>
                <a:gd name="connsiteX0" fmla="*/ 1828802 w 1828802"/>
                <a:gd name="connsiteY0" fmla="*/ 0 h 457200"/>
                <a:gd name="connsiteX1" fmla="*/ 1664209 w 1828802"/>
                <a:gd name="connsiteY1" fmla="*/ 457200 h 457200"/>
                <a:gd name="connsiteX2" fmla="*/ 0 w 1828802"/>
                <a:gd name="connsiteY2" fmla="*/ 457200 h 457200"/>
                <a:gd name="connsiteX3" fmla="*/ 131674 w 1828802"/>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31675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0 w 1828803"/>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3" h="457200">
                  <a:moveTo>
                    <a:pt x="1828803" y="0"/>
                  </a:moveTo>
                  <a:lnTo>
                    <a:pt x="1664211"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7" name="TextBox 116">
              <a:extLst>
                <a:ext uri="{FF2B5EF4-FFF2-40B4-BE49-F238E27FC236}">
                  <a16:creationId xmlns:a16="http://schemas.microsoft.com/office/drawing/2014/main" id="{10FFA3A3-8584-4767-9C27-09B55BC5F098}"/>
                </a:ext>
              </a:extLst>
            </p:cNvPr>
            <p:cNvSpPr txBox="1"/>
            <p:nvPr>
              <p:custDataLst>
                <p:tags r:id="rId23"/>
              </p:custDataLst>
            </p:nvPr>
          </p:nvSpPr>
          <p:spPr bwMode="gray">
            <a:xfrm>
              <a:off x="1066798" y="17716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grpSp>
      <p:cxnSp>
        <p:nvCxnSpPr>
          <p:cNvPr id="120" name="Straight Connector 119">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2" name="TextBox 12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3" name="Group 12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4" name="TextBox 12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5" name="TextBox 12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26" name="Picture 125">
            <a:extLst>
              <a:ext uri="{FF2B5EF4-FFF2-40B4-BE49-F238E27FC236}">
                <a16:creationId xmlns:a16="http://schemas.microsoft.com/office/drawing/2014/main" id="{E3C2B8D8-D97E-49B4-8013-47ACC5FDAD9A}"/>
              </a:ext>
            </a:extLst>
          </p:cNvPr>
          <p:cNvPicPr>
            <a:picLocks noChangeAspect="1"/>
          </p:cNvPicPr>
          <p:nvPr userDrawn="1"/>
        </p:nvPicPr>
        <p:blipFill rotWithShape="1">
          <a:blip r:embed="rId45" cstate="screen">
            <a:extLst>
              <a:ext uri="{28A0092B-C50C-407E-A947-70E740481C1C}">
                <a14:useLocalDpi xmlns:a14="http://schemas.microsoft.com/office/drawing/2010/main"/>
              </a:ext>
            </a:extLst>
          </a:blip>
          <a:srcRect t="50" b="50"/>
          <a:stretch/>
        </p:blipFill>
        <p:spPr bwMode="gray">
          <a:xfrm>
            <a:off x="623393" y="6108272"/>
            <a:ext cx="2336375" cy="633097"/>
          </a:xfrm>
          <a:prstGeom prst="rect">
            <a:avLst/>
          </a:prstGeom>
        </p:spPr>
      </p:pic>
      <p:sp>
        <p:nvSpPr>
          <p:cNvPr id="127" name="TitleTrackerAlpha" hidden="1">
            <a:extLst>
              <a:ext uri="{FF2B5EF4-FFF2-40B4-BE49-F238E27FC236}">
                <a16:creationId xmlns:a16="http://schemas.microsoft.com/office/drawing/2014/main" id="{B72A42AF-2681-44AB-A425-142238932AFD}"/>
              </a:ext>
            </a:extLst>
          </p:cNvPr>
          <p:cNvSpPr>
            <a:spLocks noChangeAspect="1"/>
          </p:cNvSpPr>
          <p:nvPr userDrawn="1">
            <p:custDataLst>
              <p:tags r:id="rId18"/>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A</a:t>
            </a:r>
          </a:p>
        </p:txBody>
      </p:sp>
      <p:sp>
        <p:nvSpPr>
          <p:cNvPr id="128" name="TitleTrackerNum" hidden="1">
            <a:extLst>
              <a:ext uri="{FF2B5EF4-FFF2-40B4-BE49-F238E27FC236}">
                <a16:creationId xmlns:a16="http://schemas.microsoft.com/office/drawing/2014/main" id="{4DD5D332-53AB-4EC7-9B8D-67F9435E4C04}"/>
              </a:ext>
            </a:extLst>
          </p:cNvPr>
          <p:cNvSpPr>
            <a:spLocks noChangeAspect="1"/>
          </p:cNvSpPr>
          <p:nvPr userDrawn="1">
            <p:custDataLst>
              <p:tags r:id="rId19"/>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1</a:t>
            </a:r>
          </a:p>
        </p:txBody>
      </p:sp>
    </p:spTree>
    <p:extLst>
      <p:ext uri="{BB962C8B-B14F-4D97-AF65-F5344CB8AC3E}">
        <p14:creationId xmlns:p14="http://schemas.microsoft.com/office/powerpoint/2010/main" val="4007260584"/>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Lst>
  <p:hf sldNum="0" hdr="0" ftr="0" dt="0"/>
  <p:txStyles>
    <p:titleStyle>
      <a:lvl1pPr algn="l" defTabSz="913572" rtl="0" eaLnBrk="1" fontAlgn="base" hangingPunct="1">
        <a:lnSpc>
          <a:spcPct val="100000"/>
        </a:lnSpc>
        <a:spcBef>
          <a:spcPct val="0"/>
        </a:spcBef>
        <a:spcAft>
          <a:spcPct val="0"/>
        </a:spcAft>
        <a:buClr>
          <a:schemeClr val="tx2"/>
        </a:buClr>
        <a:tabLst>
          <a:tab pos="361950" algn="l"/>
        </a:tabLst>
        <a:defRPr lang="x-none" sz="4000" b="1" baseline="0">
          <a:solidFill>
            <a:schemeClr val="bg1"/>
          </a:solidFill>
          <a:latin typeface="Calibri" panose="020F0502020204030204" pitchFamily="34" charset="0"/>
          <a:ea typeface="+mj-ea"/>
          <a:cs typeface="Calibri" panose="020F0502020204030204" pitchFamily="34" charset="0"/>
        </a:defRPr>
      </a:lvl1pPr>
      <a:lvl2pPr algn="l" defTabSz="913572" rtl="0" eaLnBrk="1" fontAlgn="base" hangingPunct="1">
        <a:spcBef>
          <a:spcPct val="0"/>
        </a:spcBef>
        <a:spcAft>
          <a:spcPct val="0"/>
        </a:spcAft>
        <a:defRPr lang="x-none" sz="1939" b="1">
          <a:solidFill>
            <a:schemeClr val="tx2"/>
          </a:solidFill>
          <a:latin typeface="Arial" charset="0"/>
        </a:defRPr>
      </a:lvl2pPr>
      <a:lvl3pPr algn="l" defTabSz="913572" rtl="0" eaLnBrk="1" fontAlgn="base" hangingPunct="1">
        <a:spcBef>
          <a:spcPct val="0"/>
        </a:spcBef>
        <a:spcAft>
          <a:spcPct val="0"/>
        </a:spcAft>
        <a:defRPr lang="x-none" sz="1939" b="1">
          <a:solidFill>
            <a:schemeClr val="tx2"/>
          </a:solidFill>
          <a:latin typeface="Arial" charset="0"/>
        </a:defRPr>
      </a:lvl3pPr>
      <a:lvl4pPr algn="l" defTabSz="913572" rtl="0" eaLnBrk="1" fontAlgn="base" hangingPunct="1">
        <a:spcBef>
          <a:spcPct val="0"/>
        </a:spcBef>
        <a:spcAft>
          <a:spcPct val="0"/>
        </a:spcAft>
        <a:defRPr lang="x-none" sz="1939" b="1">
          <a:solidFill>
            <a:schemeClr val="tx2"/>
          </a:solidFill>
          <a:latin typeface="Arial" charset="0"/>
        </a:defRPr>
      </a:lvl4pPr>
      <a:lvl5pPr algn="l" defTabSz="913572" rtl="0" eaLnBrk="1" fontAlgn="base" hangingPunct="1">
        <a:spcBef>
          <a:spcPct val="0"/>
        </a:spcBef>
        <a:spcAft>
          <a:spcPct val="0"/>
        </a:spcAft>
        <a:defRPr lang="x-none" sz="1939" b="1">
          <a:solidFill>
            <a:schemeClr val="tx2"/>
          </a:solidFill>
          <a:latin typeface="Arial" charset="0"/>
        </a:defRPr>
      </a:lvl5pPr>
      <a:lvl6pPr marL="466505" algn="l" defTabSz="913572" rtl="0" eaLnBrk="1" fontAlgn="base" hangingPunct="1">
        <a:spcBef>
          <a:spcPct val="0"/>
        </a:spcBef>
        <a:spcAft>
          <a:spcPct val="0"/>
        </a:spcAft>
        <a:defRPr lang="x-none" sz="1939" b="1">
          <a:solidFill>
            <a:schemeClr val="tx2"/>
          </a:solidFill>
          <a:latin typeface="Arial" charset="0"/>
        </a:defRPr>
      </a:lvl6pPr>
      <a:lvl7pPr marL="933009" algn="l" defTabSz="913572" rtl="0" eaLnBrk="1" fontAlgn="base" hangingPunct="1">
        <a:spcBef>
          <a:spcPct val="0"/>
        </a:spcBef>
        <a:spcAft>
          <a:spcPct val="0"/>
        </a:spcAft>
        <a:defRPr lang="x-none" sz="1939" b="1">
          <a:solidFill>
            <a:schemeClr val="tx2"/>
          </a:solidFill>
          <a:latin typeface="Arial" charset="0"/>
        </a:defRPr>
      </a:lvl7pPr>
      <a:lvl8pPr marL="1399513" algn="l" defTabSz="913572" rtl="0" eaLnBrk="1" fontAlgn="base" hangingPunct="1">
        <a:spcBef>
          <a:spcPct val="0"/>
        </a:spcBef>
        <a:spcAft>
          <a:spcPct val="0"/>
        </a:spcAft>
        <a:defRPr lang="x-none" sz="1939" b="1">
          <a:solidFill>
            <a:schemeClr val="tx2"/>
          </a:solidFill>
          <a:latin typeface="Arial" charset="0"/>
        </a:defRPr>
      </a:lvl8pPr>
      <a:lvl9pPr marL="1866019" algn="l" defTabSz="913572" rtl="0" eaLnBrk="1" fontAlgn="base" hangingPunct="1">
        <a:spcBef>
          <a:spcPct val="0"/>
        </a:spcBef>
        <a:spcAft>
          <a:spcPct val="0"/>
        </a:spcAft>
        <a:defRPr lang="x-none" sz="1939" b="1">
          <a:solidFill>
            <a:schemeClr val="tx2"/>
          </a:solidFill>
          <a:latin typeface="Arial" charset="0"/>
        </a:defRPr>
      </a:lvl9pPr>
    </p:titleStyle>
    <p:bodyStyle>
      <a:lvl1pPr marL="0" indent="0" algn="l" defTabSz="913572" rtl="0" eaLnBrk="1" fontAlgn="base" hangingPunct="1">
        <a:lnSpc>
          <a:spcPct val="150000"/>
        </a:lnSpc>
        <a:spcBef>
          <a:spcPct val="0"/>
        </a:spcBef>
        <a:spcAft>
          <a:spcPct val="0"/>
        </a:spcAft>
        <a:buClr>
          <a:schemeClr val="tx1"/>
        </a:buClr>
        <a:buSzPct val="100000"/>
        <a:buFontTx/>
        <a:buNone/>
        <a:defRPr lang="x-none" sz="2400" baseline="0">
          <a:solidFill>
            <a:schemeClr val="accent6"/>
          </a:solidFill>
          <a:latin typeface="Calibri" panose="020F0502020204030204" pitchFamily="34" charset="0"/>
          <a:ea typeface="+mn-ea"/>
          <a:cs typeface="Calibri" panose="020F0502020204030204" pitchFamily="34" charset="0"/>
        </a:defRPr>
      </a:lvl1pPr>
      <a:lvl2pPr marL="180000" indent="-180054"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2000" baseline="0">
          <a:solidFill>
            <a:schemeClr val="accent6"/>
          </a:solidFill>
          <a:latin typeface="Calibri" panose="020F0502020204030204" pitchFamily="34" charset="0"/>
          <a:cs typeface="Calibri" panose="020F0502020204030204" pitchFamily="34" charset="0"/>
        </a:defRPr>
      </a:lvl2pPr>
      <a:lvl3pPr marL="365760" indent="-182880"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1800" baseline="0">
          <a:solidFill>
            <a:schemeClr val="accent6"/>
          </a:solidFill>
          <a:latin typeface="Calibri" panose="020F0502020204030204" pitchFamily="34" charset="0"/>
          <a:cs typeface="Calibri" panose="020F0502020204030204" pitchFamily="34" charset="0"/>
        </a:defRPr>
      </a:lvl3pPr>
      <a:lvl4pPr marL="548640" indent="-182880"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1600" baseline="0">
          <a:solidFill>
            <a:schemeClr val="accent6"/>
          </a:solidFill>
          <a:latin typeface="Calibri" panose="020F0502020204030204" pitchFamily="34" charset="0"/>
          <a:cs typeface="Calibri" panose="020F0502020204030204" pitchFamily="34" charset="0"/>
        </a:defRPr>
      </a:lvl4pPr>
      <a:lvl5pPr marL="731520" indent="-182880" algn="l" defTabSz="913572" rtl="0" eaLnBrk="1" fontAlgn="base" hangingPunct="1">
        <a:lnSpc>
          <a:spcPct val="150000"/>
        </a:lnSpc>
        <a:spcBef>
          <a:spcPct val="0"/>
        </a:spcBef>
        <a:spcAft>
          <a:spcPct val="0"/>
        </a:spcAft>
        <a:buClr>
          <a:schemeClr val="tx1"/>
        </a:buClr>
        <a:buSzPct val="100000"/>
        <a:buFont typeface="Arial" panose="020B0604020202020204" pitchFamily="34" charset="0"/>
        <a:buChar char="–"/>
        <a:defRPr lang="x-none" sz="1400" baseline="0">
          <a:solidFill>
            <a:schemeClr val="accent6"/>
          </a:solidFill>
          <a:latin typeface="Calibri" panose="020F0502020204030204" pitchFamily="34" charset="0"/>
          <a:cs typeface="Calibri" panose="020F0502020204030204" pitchFamily="34" charset="0"/>
        </a:defRPr>
      </a:lvl5pPr>
      <a:lvl6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3009" rtl="0" eaLnBrk="1" latinLnBrk="0" hangingPunct="1">
        <a:defRPr lang="x-none" sz="1838" kern="1200">
          <a:solidFill>
            <a:schemeClr val="tx1"/>
          </a:solidFill>
          <a:latin typeface="+mn-lt"/>
          <a:ea typeface="+mn-ea"/>
          <a:cs typeface="+mn-cs"/>
        </a:defRPr>
      </a:lvl1pPr>
      <a:lvl2pPr marL="466505" algn="l" defTabSz="933009" rtl="0" eaLnBrk="1" latinLnBrk="0" hangingPunct="1">
        <a:defRPr lang="x-none" sz="1838" kern="1200">
          <a:solidFill>
            <a:schemeClr val="tx1"/>
          </a:solidFill>
          <a:latin typeface="+mn-lt"/>
          <a:ea typeface="+mn-ea"/>
          <a:cs typeface="+mn-cs"/>
        </a:defRPr>
      </a:lvl2pPr>
      <a:lvl3pPr marL="933009" algn="l" defTabSz="933009" rtl="0" eaLnBrk="1" latinLnBrk="0" hangingPunct="1">
        <a:defRPr lang="x-none" sz="1838" kern="1200">
          <a:solidFill>
            <a:schemeClr val="tx1"/>
          </a:solidFill>
          <a:latin typeface="+mn-lt"/>
          <a:ea typeface="+mn-ea"/>
          <a:cs typeface="+mn-cs"/>
        </a:defRPr>
      </a:lvl3pPr>
      <a:lvl4pPr marL="1399513" algn="l" defTabSz="933009" rtl="0" eaLnBrk="1" latinLnBrk="0" hangingPunct="1">
        <a:defRPr lang="x-none" sz="1838" kern="1200">
          <a:solidFill>
            <a:schemeClr val="tx1"/>
          </a:solidFill>
          <a:latin typeface="+mn-lt"/>
          <a:ea typeface="+mn-ea"/>
          <a:cs typeface="+mn-cs"/>
        </a:defRPr>
      </a:lvl4pPr>
      <a:lvl5pPr marL="1866019" algn="l" defTabSz="933009" rtl="0" eaLnBrk="1" latinLnBrk="0" hangingPunct="1">
        <a:defRPr lang="x-none" sz="1838" kern="1200">
          <a:solidFill>
            <a:schemeClr val="tx1"/>
          </a:solidFill>
          <a:latin typeface="+mn-lt"/>
          <a:ea typeface="+mn-ea"/>
          <a:cs typeface="+mn-cs"/>
        </a:defRPr>
      </a:lvl5pPr>
      <a:lvl6pPr marL="2332524" algn="l" defTabSz="933009" rtl="0" eaLnBrk="1" latinLnBrk="0" hangingPunct="1">
        <a:defRPr lang="x-none" sz="1838" kern="1200">
          <a:solidFill>
            <a:schemeClr val="tx1"/>
          </a:solidFill>
          <a:latin typeface="+mn-lt"/>
          <a:ea typeface="+mn-ea"/>
          <a:cs typeface="+mn-cs"/>
        </a:defRPr>
      </a:lvl6pPr>
      <a:lvl7pPr marL="2799026" algn="l" defTabSz="933009" rtl="0" eaLnBrk="1" latinLnBrk="0" hangingPunct="1">
        <a:defRPr lang="x-none" sz="1838" kern="1200">
          <a:solidFill>
            <a:schemeClr val="tx1"/>
          </a:solidFill>
          <a:latin typeface="+mn-lt"/>
          <a:ea typeface="+mn-ea"/>
          <a:cs typeface="+mn-cs"/>
        </a:defRPr>
      </a:lvl7pPr>
      <a:lvl8pPr marL="3265531" algn="l" defTabSz="933009" rtl="0" eaLnBrk="1" latinLnBrk="0" hangingPunct="1">
        <a:defRPr lang="x-none" sz="1838" kern="1200">
          <a:solidFill>
            <a:schemeClr val="tx1"/>
          </a:solidFill>
          <a:latin typeface="+mn-lt"/>
          <a:ea typeface="+mn-ea"/>
          <a:cs typeface="+mn-cs"/>
        </a:defRPr>
      </a:lvl8pPr>
      <a:lvl9pPr marL="3732035" algn="l" defTabSz="933009" rtl="0" eaLnBrk="1" latinLnBrk="0" hangingPunct="1">
        <a:defRPr lang="x-none"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56">
          <p15:clr>
            <a:srgbClr val="F26B43"/>
          </p15:clr>
        </p15:guide>
        <p15:guide id="2" pos="288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8"/>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BDE826D-6E69-4E2C-9278-C90B59C88619}"/>
              </a:ext>
            </a:extLst>
          </p:cNvPr>
          <p:cNvSpPr/>
          <p:nvPr userDrawn="1">
            <p:custDataLst>
              <p:tags r:id="rId19"/>
            </p:custDataLst>
          </p:nvPr>
        </p:nvSpPr>
        <p:spPr>
          <a:xfrm>
            <a:off x="0" y="0"/>
            <a:ext cx="158750" cy="158750"/>
          </a:xfrm>
          <a:prstGeom prst="rect">
            <a:avLst/>
          </a:prstGeom>
          <a:solidFill>
            <a:srgbClr val="5A22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err="1">
              <a:solidFill>
                <a:srgbClr val="000000"/>
              </a:solidFill>
              <a:latin typeface="Franklin Gothic Medium" panose="020B0603020102020204" pitchFamily="34" charset="0"/>
              <a:ea typeface="+mj-ea"/>
              <a:cs typeface="Arial" pitchFamily="34" charset="0"/>
              <a:sym typeface="Franklin Gothic Medium" panose="020B0603020102020204" pitchFamily="34" charset="0"/>
            </a:endParaRPr>
          </a:p>
        </p:txBody>
      </p:sp>
      <p:sp>
        <p:nvSpPr>
          <p:cNvPr id="1026" name="Title Placeholder 1"/>
          <p:cNvSpPr>
            <a:spLocks noGrp="1"/>
          </p:cNvSpPr>
          <p:nvPr>
            <p:ph type="title"/>
          </p:nvPr>
        </p:nvSpPr>
        <p:spPr bwMode="auto">
          <a:xfrm>
            <a:off x="644336" y="480075"/>
            <a:ext cx="9360000" cy="308122"/>
          </a:xfrm>
          <a:prstGeom prst="rect">
            <a:avLst/>
          </a:prstGeom>
          <a:noFill/>
          <a:ln w="9525">
            <a:noFill/>
            <a:miter lim="800000"/>
            <a:headEnd/>
            <a:tailEnd/>
          </a:ln>
        </p:spPr>
        <p:txBody>
          <a:bodyPr vert="horz" wrap="square" lIns="0" tIns="45720" rIns="0" bIns="45720" numCol="1" anchor="ctr" anchorCtr="0" compatLnSpc="1">
            <a:prstTxWarp prst="textNoShape">
              <a:avLst/>
            </a:prstTxWarp>
            <a:noAutofit/>
          </a:bodyPr>
          <a:lstStyle/>
          <a:p>
            <a:pPr lvl="0"/>
            <a:r>
              <a:rPr lang="en-US"/>
              <a:t>Click to edit Master title style</a:t>
            </a:r>
          </a:p>
        </p:txBody>
      </p:sp>
      <p:sp>
        <p:nvSpPr>
          <p:cNvPr id="1027" name="Text Placeholder 2"/>
          <p:cNvSpPr>
            <a:spLocks noGrp="1"/>
          </p:cNvSpPr>
          <p:nvPr>
            <p:ph type="body" idx="1"/>
          </p:nvPr>
        </p:nvSpPr>
        <p:spPr bwMode="auto">
          <a:xfrm>
            <a:off x="562709" y="1508125"/>
            <a:ext cx="11068539"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z="900" smtClean="0">
                <a:solidFill>
                  <a:srgbClr val="5A2259"/>
                </a:solidFill>
              </a:rPr>
              <a:pPr>
                <a:defRPr/>
              </a:pPr>
              <a:t>‹#›</a:t>
            </a:fld>
            <a:endParaRPr lang="en-US" sz="900">
              <a:solidFill>
                <a:srgbClr val="5A2259"/>
              </a:solidFill>
            </a:endParaRPr>
          </a:p>
        </p:txBody>
      </p:sp>
      <p:sp>
        <p:nvSpPr>
          <p:cNvPr id="22" name="Rectángulo 21">
            <a:extLst>
              <a:ext uri="{FF2B5EF4-FFF2-40B4-BE49-F238E27FC236}">
                <a16:creationId xmlns:a16="http://schemas.microsoft.com/office/drawing/2014/main" id="{08D76A75-1154-4ECC-8C0B-DCF50CEE654F}"/>
              </a:ext>
            </a:extLst>
          </p:cNvPr>
          <p:cNvSpPr/>
          <p:nvPr userDrawn="1"/>
        </p:nvSpPr>
        <p:spPr>
          <a:xfrm>
            <a:off x="0" y="497001"/>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3" name="Rectángulo 22">
            <a:extLst>
              <a:ext uri="{FF2B5EF4-FFF2-40B4-BE49-F238E27FC236}">
                <a16:creationId xmlns:a16="http://schemas.microsoft.com/office/drawing/2014/main" id="{1FE64F5C-7B9C-4791-970E-61569465B98C}"/>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pic>
        <p:nvPicPr>
          <p:cNvPr id="24" name="Picture 2">
            <a:extLst>
              <a:ext uri="{FF2B5EF4-FFF2-40B4-BE49-F238E27FC236}">
                <a16:creationId xmlns:a16="http://schemas.microsoft.com/office/drawing/2014/main" id="{8C9F09AB-38FF-4F16-BDAD-DC3FB40BBDB0}"/>
              </a:ext>
            </a:extLst>
          </p:cNvPr>
          <p:cNvPicPr>
            <a:picLocks noChangeAspect="1"/>
          </p:cNvPicPr>
          <p:nvPr userDrawn="1"/>
        </p:nvPicPr>
        <p:blipFill>
          <a:blip r:embed="rId22"/>
          <a:srcRect/>
          <a:stretch/>
        </p:blipFill>
        <p:spPr>
          <a:xfrm>
            <a:off x="10234863" y="-19547"/>
            <a:ext cx="1796716" cy="898358"/>
          </a:xfrm>
          <a:prstGeom prst="rect">
            <a:avLst/>
          </a:prstGeom>
        </p:spPr>
      </p:pic>
    </p:spTree>
    <p:extLst>
      <p:ext uri="{BB962C8B-B14F-4D97-AF65-F5344CB8AC3E}">
        <p14:creationId xmlns:p14="http://schemas.microsoft.com/office/powerpoint/2010/main" val="2818656021"/>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72" r:id="rId16"/>
  </p:sldLayoutIdLst>
  <p:hf hdr="0" ftr="0" dt="0"/>
  <p:txStyles>
    <p:titleStyle>
      <a:lvl1pPr algn="l" rtl="0" eaLnBrk="1" fontAlgn="base" hangingPunct="1">
        <a:spcBef>
          <a:spcPct val="0"/>
        </a:spcBef>
        <a:spcAft>
          <a:spcPct val="0"/>
        </a:spcAft>
        <a:defRPr sz="1600" b="0" kern="1200" cap="all" spc="300" baseline="0">
          <a:solidFill>
            <a:srgbClr val="8C9EAB"/>
          </a:solidFill>
          <a:latin typeface="Franklin Gothic Medium"/>
          <a:ea typeface="+mj-ea"/>
          <a:cs typeface="Franklin Gothic Medium"/>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BDE826D-6E69-4E2C-9278-C90B59C88619}"/>
              </a:ext>
            </a:extLst>
          </p:cNvPr>
          <p:cNvSpPr/>
          <p:nvPr userDrawn="1">
            <p:custDataLst>
              <p:tags r:id="rId12"/>
            </p:custDataLst>
          </p:nvPr>
        </p:nvSpPr>
        <p:spPr>
          <a:xfrm>
            <a:off x="0" y="0"/>
            <a:ext cx="158750" cy="158750"/>
          </a:xfrm>
          <a:prstGeom prst="rect">
            <a:avLst/>
          </a:prstGeom>
          <a:solidFill>
            <a:srgbClr val="5A22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err="1">
              <a:solidFill>
                <a:srgbClr val="000000"/>
              </a:solidFill>
              <a:latin typeface="Franklin Gothic Medium" panose="020B0603020102020204" pitchFamily="34" charset="0"/>
              <a:ea typeface="+mj-ea"/>
              <a:cs typeface="Arial" pitchFamily="34" charset="0"/>
              <a:sym typeface="Franklin Gothic Medium" panose="020B0603020102020204" pitchFamily="34" charset="0"/>
            </a:endParaRPr>
          </a:p>
        </p:txBody>
      </p:sp>
      <p:sp>
        <p:nvSpPr>
          <p:cNvPr id="1026" name="Title Placeholder 1"/>
          <p:cNvSpPr>
            <a:spLocks noGrp="1"/>
          </p:cNvSpPr>
          <p:nvPr>
            <p:ph type="title"/>
          </p:nvPr>
        </p:nvSpPr>
        <p:spPr bwMode="auto">
          <a:xfrm>
            <a:off x="644336" y="480075"/>
            <a:ext cx="9360000" cy="308122"/>
          </a:xfrm>
          <a:prstGeom prst="rect">
            <a:avLst/>
          </a:prstGeom>
          <a:noFill/>
          <a:ln w="9525">
            <a:noFill/>
            <a:miter lim="800000"/>
            <a:headEnd/>
            <a:tailEnd/>
          </a:ln>
        </p:spPr>
        <p:txBody>
          <a:bodyPr vert="horz" wrap="square" lIns="0" tIns="45720" rIns="0" bIns="45720" numCol="1" anchor="ctr" anchorCtr="0" compatLnSpc="1">
            <a:prstTxWarp prst="textNoShape">
              <a:avLst/>
            </a:prstTxWarp>
            <a:noAutofit/>
          </a:bodyPr>
          <a:lstStyle/>
          <a:p>
            <a:pPr lvl="0"/>
            <a:r>
              <a:rPr lang="en-US"/>
              <a:t>Click to edit Master title style</a:t>
            </a:r>
          </a:p>
        </p:txBody>
      </p:sp>
      <p:sp>
        <p:nvSpPr>
          <p:cNvPr id="1027" name="Text Placeholder 2"/>
          <p:cNvSpPr>
            <a:spLocks noGrp="1"/>
          </p:cNvSpPr>
          <p:nvPr>
            <p:ph type="body" idx="1"/>
          </p:nvPr>
        </p:nvSpPr>
        <p:spPr bwMode="auto">
          <a:xfrm>
            <a:off x="562709" y="1508125"/>
            <a:ext cx="11068539"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z="900" smtClean="0">
                <a:solidFill>
                  <a:srgbClr val="5A2259"/>
                </a:solidFill>
              </a:rPr>
              <a:pPr>
                <a:defRPr/>
              </a:pPr>
              <a:t>‹#›</a:t>
            </a:fld>
            <a:endParaRPr lang="en-US" sz="900">
              <a:solidFill>
                <a:srgbClr val="5A2259"/>
              </a:solidFill>
            </a:endParaRPr>
          </a:p>
        </p:txBody>
      </p:sp>
      <p:sp>
        <p:nvSpPr>
          <p:cNvPr id="22" name="Rectángulo 21">
            <a:extLst>
              <a:ext uri="{FF2B5EF4-FFF2-40B4-BE49-F238E27FC236}">
                <a16:creationId xmlns:a16="http://schemas.microsoft.com/office/drawing/2014/main" id="{08D76A75-1154-4ECC-8C0B-DCF50CEE654F}"/>
              </a:ext>
            </a:extLst>
          </p:cNvPr>
          <p:cNvSpPr/>
          <p:nvPr userDrawn="1"/>
        </p:nvSpPr>
        <p:spPr>
          <a:xfrm>
            <a:off x="0" y="497001"/>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3" name="Rectángulo 22">
            <a:extLst>
              <a:ext uri="{FF2B5EF4-FFF2-40B4-BE49-F238E27FC236}">
                <a16:creationId xmlns:a16="http://schemas.microsoft.com/office/drawing/2014/main" id="{1FE64F5C-7B9C-4791-970E-61569465B98C}"/>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pic>
        <p:nvPicPr>
          <p:cNvPr id="24" name="Picture 2">
            <a:extLst>
              <a:ext uri="{FF2B5EF4-FFF2-40B4-BE49-F238E27FC236}">
                <a16:creationId xmlns:a16="http://schemas.microsoft.com/office/drawing/2014/main" id="{8C9F09AB-38FF-4F16-BDAD-DC3FB40BBDB0}"/>
              </a:ext>
            </a:extLst>
          </p:cNvPr>
          <p:cNvPicPr>
            <a:picLocks noChangeAspect="1"/>
          </p:cNvPicPr>
          <p:nvPr userDrawn="1"/>
        </p:nvPicPr>
        <p:blipFill>
          <a:blip r:embed="rId15"/>
          <a:srcRect/>
          <a:stretch/>
        </p:blipFill>
        <p:spPr>
          <a:xfrm>
            <a:off x="10234863" y="-19547"/>
            <a:ext cx="1796716" cy="898358"/>
          </a:xfrm>
          <a:prstGeom prst="rect">
            <a:avLst/>
          </a:prstGeom>
        </p:spPr>
      </p:pic>
    </p:spTree>
    <p:extLst>
      <p:ext uri="{BB962C8B-B14F-4D97-AF65-F5344CB8AC3E}">
        <p14:creationId xmlns:p14="http://schemas.microsoft.com/office/powerpoint/2010/main" val="3744651912"/>
      </p:ext>
    </p:extLst>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Lst>
  <p:hf hdr="0" ftr="0" dt="0"/>
  <p:txStyles>
    <p:titleStyle>
      <a:lvl1pPr algn="l" rtl="0" eaLnBrk="1" fontAlgn="base" hangingPunct="1">
        <a:spcBef>
          <a:spcPct val="0"/>
        </a:spcBef>
        <a:spcAft>
          <a:spcPct val="0"/>
        </a:spcAft>
        <a:defRPr sz="1600" b="0" kern="1200" cap="all" spc="300" baseline="0">
          <a:solidFill>
            <a:srgbClr val="8C9EAB"/>
          </a:solidFill>
          <a:latin typeface="Franklin Gothic Medium"/>
          <a:ea typeface="+mj-ea"/>
          <a:cs typeface="Franklin Gothic Medium"/>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6409267"/>
            <a:ext cx="12192000" cy="355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AT" sz="3200"/>
          </a:p>
        </p:txBody>
      </p:sp>
      <p:sp>
        <p:nvSpPr>
          <p:cNvPr id="1027" name="Rectangle 2"/>
          <p:cNvSpPr>
            <a:spLocks noGrp="1" noChangeArrowheads="1"/>
          </p:cNvSpPr>
          <p:nvPr>
            <p:ph type="title"/>
          </p:nvPr>
        </p:nvSpPr>
        <p:spPr bwMode="auto">
          <a:xfrm>
            <a:off x="1488018" y="1269763"/>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ltLang="de-DE"/>
              <a:t>Titelmasterformat durch Klicken bearbeiten</a:t>
            </a:r>
          </a:p>
        </p:txBody>
      </p:sp>
      <p:sp>
        <p:nvSpPr>
          <p:cNvPr id="1028" name="Rectangle 3"/>
          <p:cNvSpPr>
            <a:spLocks noGrp="1" noChangeArrowheads="1"/>
          </p:cNvSpPr>
          <p:nvPr>
            <p:ph type="body" idx="1"/>
          </p:nvPr>
        </p:nvSpPr>
        <p:spPr bwMode="auto">
          <a:xfrm>
            <a:off x="1488018" y="2874434"/>
            <a:ext cx="1097280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Textmasterformate durch Klicken bearbeiten</a:t>
            </a:r>
          </a:p>
          <a:p>
            <a:pPr lvl="0"/>
            <a:endParaRPr lang="de-DE" altLang="de-DE"/>
          </a:p>
        </p:txBody>
      </p:sp>
      <p:sp>
        <p:nvSpPr>
          <p:cNvPr id="1029" name="Rectangle 9"/>
          <p:cNvSpPr>
            <a:spLocks noChangeArrowheads="1"/>
          </p:cNvSpPr>
          <p:nvPr userDrawn="1"/>
        </p:nvSpPr>
        <p:spPr bwMode="auto">
          <a:xfrm>
            <a:off x="198967" y="6462185"/>
            <a:ext cx="249766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de-DE" altLang="de-DE" sz="1067">
              <a:latin typeface="Trebuchet MS" pitchFamily="34" charset="0"/>
            </a:endParaRPr>
          </a:p>
        </p:txBody>
      </p:sp>
      <p:pic>
        <p:nvPicPr>
          <p:cNvPr id="1030" name="Grafik 2"/>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5712885" y="6405034"/>
            <a:ext cx="958850" cy="35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
          <p:cNvSpPr>
            <a:spLocks noChangeArrowheads="1"/>
          </p:cNvSpPr>
          <p:nvPr userDrawn="1"/>
        </p:nvSpPr>
        <p:spPr bwMode="auto">
          <a:xfrm>
            <a:off x="10320868" y="6462185"/>
            <a:ext cx="2783418"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fld id="{7468D84D-7E3C-4BAF-9359-27FD5812BBBB}" type="slidenum">
              <a:rPr lang="de-DE" altLang="de-DE" sz="1067" smtClean="0">
                <a:latin typeface="Trebuchet MS" pitchFamily="34" charset="0"/>
              </a:rPr>
              <a:pPr algn="ctr" eaLnBrk="1" hangingPunct="1">
                <a:defRPr/>
              </a:pPr>
              <a:t>‹#›</a:t>
            </a:fld>
            <a:endParaRPr lang="de-DE" altLang="de-DE" sz="1067">
              <a:latin typeface="Trebuchet MS" pitchFamily="34" charset="0"/>
            </a:endParaRPr>
          </a:p>
        </p:txBody>
      </p:sp>
      <p:pic>
        <p:nvPicPr>
          <p:cNvPr id="1032" name="Grafik 8"/>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320867" y="334434"/>
            <a:ext cx="1439334" cy="455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12"/>
          <p:cNvPicPr>
            <a:picLocks noChangeAspect="1"/>
          </p:cNvPicPr>
          <p:nvPr userDrawn="1"/>
        </p:nvPicPr>
        <p:blipFill rotWithShape="1">
          <a:blip r:embed="rId15" cstate="print">
            <a:extLst>
              <a:ext uri="{28A0092B-C50C-407E-A947-70E740481C1C}">
                <a14:useLocalDpi xmlns:a14="http://schemas.microsoft.com/office/drawing/2010/main" val="0"/>
              </a:ext>
            </a:extLst>
          </a:blip>
          <a:srcRect t="3783" b="56490"/>
          <a:stretch/>
        </p:blipFill>
        <p:spPr>
          <a:xfrm>
            <a:off x="623392" y="-27385"/>
            <a:ext cx="831416" cy="2016226"/>
          </a:xfrm>
          <a:prstGeom prst="rect">
            <a:avLst/>
          </a:prstGeom>
        </p:spPr>
      </p:pic>
      <p:pic>
        <p:nvPicPr>
          <p:cNvPr id="10" name="Grafik 9"/>
          <p:cNvPicPr>
            <a:picLocks noChangeAspect="1"/>
          </p:cNvPicPr>
          <p:nvPr userDrawn="1"/>
        </p:nvPicPr>
        <p:blipFill>
          <a:blip r:embed="rId16"/>
          <a:stretch>
            <a:fillRect/>
          </a:stretch>
        </p:blipFill>
        <p:spPr>
          <a:xfrm>
            <a:off x="8976321" y="334434"/>
            <a:ext cx="1071194" cy="438928"/>
          </a:xfrm>
          <a:prstGeom prst="rect">
            <a:avLst/>
          </a:prstGeom>
        </p:spPr>
      </p:pic>
    </p:spTree>
    <p:extLst>
      <p:ext uri="{BB962C8B-B14F-4D97-AF65-F5344CB8AC3E}">
        <p14:creationId xmlns:p14="http://schemas.microsoft.com/office/powerpoint/2010/main" val="221252211"/>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 id="2147484123" r:id="rId10"/>
    <p:sldLayoutId id="2147484124" r:id="rId11"/>
  </p:sldLayoutIdLst>
  <p:txStyles>
    <p:titleStyle>
      <a:lvl1pPr algn="l" rtl="0" eaLnBrk="0" fontAlgn="base" hangingPunct="0">
        <a:spcBef>
          <a:spcPct val="0"/>
        </a:spcBef>
        <a:spcAft>
          <a:spcPct val="0"/>
        </a:spcAft>
        <a:defRPr sz="3334" b="1">
          <a:solidFill>
            <a:schemeClr val="tx2"/>
          </a:solidFill>
          <a:latin typeface="+mj-lt"/>
          <a:ea typeface="+mj-ea"/>
          <a:cs typeface="+mj-cs"/>
        </a:defRPr>
      </a:lvl1pPr>
      <a:lvl2pPr algn="l" rtl="0" eaLnBrk="0" fontAlgn="base" hangingPunct="0">
        <a:spcBef>
          <a:spcPct val="0"/>
        </a:spcBef>
        <a:spcAft>
          <a:spcPct val="0"/>
        </a:spcAft>
        <a:defRPr sz="3334" b="1">
          <a:solidFill>
            <a:schemeClr val="tx2"/>
          </a:solidFill>
          <a:latin typeface="Trebuchet MS" pitchFamily="34" charset="0"/>
        </a:defRPr>
      </a:lvl2pPr>
      <a:lvl3pPr algn="l" rtl="0" eaLnBrk="0" fontAlgn="base" hangingPunct="0">
        <a:spcBef>
          <a:spcPct val="0"/>
        </a:spcBef>
        <a:spcAft>
          <a:spcPct val="0"/>
        </a:spcAft>
        <a:defRPr sz="3334" b="1">
          <a:solidFill>
            <a:schemeClr val="tx2"/>
          </a:solidFill>
          <a:latin typeface="Trebuchet MS" pitchFamily="34" charset="0"/>
        </a:defRPr>
      </a:lvl3pPr>
      <a:lvl4pPr algn="l" rtl="0" eaLnBrk="0" fontAlgn="base" hangingPunct="0">
        <a:spcBef>
          <a:spcPct val="0"/>
        </a:spcBef>
        <a:spcAft>
          <a:spcPct val="0"/>
        </a:spcAft>
        <a:defRPr sz="3334" b="1">
          <a:solidFill>
            <a:schemeClr val="tx2"/>
          </a:solidFill>
          <a:latin typeface="Trebuchet MS" pitchFamily="34" charset="0"/>
        </a:defRPr>
      </a:lvl4pPr>
      <a:lvl5pPr algn="l" rtl="0" eaLnBrk="0" fontAlgn="base" hangingPunct="0">
        <a:spcBef>
          <a:spcPct val="0"/>
        </a:spcBef>
        <a:spcAft>
          <a:spcPct val="0"/>
        </a:spcAft>
        <a:defRPr sz="3334" b="1">
          <a:solidFill>
            <a:schemeClr val="tx2"/>
          </a:solidFill>
          <a:latin typeface="Trebuchet MS" pitchFamily="34" charset="0"/>
        </a:defRPr>
      </a:lvl5pPr>
      <a:lvl6pPr marL="609608" algn="l" rtl="0" fontAlgn="base">
        <a:spcBef>
          <a:spcPct val="0"/>
        </a:spcBef>
        <a:spcAft>
          <a:spcPct val="0"/>
        </a:spcAft>
        <a:defRPr sz="4000">
          <a:solidFill>
            <a:schemeClr val="tx2"/>
          </a:solidFill>
          <a:latin typeface="Trebuchet MS" pitchFamily="34" charset="0"/>
        </a:defRPr>
      </a:lvl6pPr>
      <a:lvl7pPr marL="1219215" algn="l" rtl="0" fontAlgn="base">
        <a:spcBef>
          <a:spcPct val="0"/>
        </a:spcBef>
        <a:spcAft>
          <a:spcPct val="0"/>
        </a:spcAft>
        <a:defRPr sz="4000">
          <a:solidFill>
            <a:schemeClr val="tx2"/>
          </a:solidFill>
          <a:latin typeface="Trebuchet MS" pitchFamily="34" charset="0"/>
        </a:defRPr>
      </a:lvl7pPr>
      <a:lvl8pPr marL="1828823" algn="l" rtl="0" fontAlgn="base">
        <a:spcBef>
          <a:spcPct val="0"/>
        </a:spcBef>
        <a:spcAft>
          <a:spcPct val="0"/>
        </a:spcAft>
        <a:defRPr sz="4000">
          <a:solidFill>
            <a:schemeClr val="tx2"/>
          </a:solidFill>
          <a:latin typeface="Trebuchet MS" pitchFamily="34" charset="0"/>
        </a:defRPr>
      </a:lvl8pPr>
      <a:lvl9pPr marL="2438431" algn="l" rtl="0" fontAlgn="base">
        <a:spcBef>
          <a:spcPct val="0"/>
        </a:spcBef>
        <a:spcAft>
          <a:spcPct val="0"/>
        </a:spcAft>
        <a:defRPr sz="4000">
          <a:solidFill>
            <a:schemeClr val="tx2"/>
          </a:solidFill>
          <a:latin typeface="Trebuchet MS" pitchFamily="34" charset="0"/>
        </a:defRPr>
      </a:lvl9pPr>
    </p:titleStyle>
    <p:bodyStyle>
      <a:lvl1pPr marL="457206" indent="-457206" algn="l" rtl="0" eaLnBrk="0" fontAlgn="base" hangingPunct="0">
        <a:spcBef>
          <a:spcPct val="20000"/>
        </a:spcBef>
        <a:spcAft>
          <a:spcPct val="0"/>
        </a:spcAft>
        <a:defRPr sz="2934">
          <a:solidFill>
            <a:schemeClr val="tx1"/>
          </a:solidFill>
          <a:latin typeface="+mn-lt"/>
          <a:ea typeface="+mn-ea"/>
          <a:cs typeface="+mn-cs"/>
        </a:defRPr>
      </a:lvl1pPr>
      <a:lvl2pPr marL="990613" indent="-381005" algn="l" rtl="0" eaLnBrk="0" fontAlgn="base" hangingPunct="0">
        <a:spcBef>
          <a:spcPct val="20000"/>
        </a:spcBef>
        <a:spcAft>
          <a:spcPct val="0"/>
        </a:spcAft>
        <a:defRPr sz="2667">
          <a:solidFill>
            <a:schemeClr val="tx1"/>
          </a:solidFill>
          <a:latin typeface="+mn-lt"/>
        </a:defRPr>
      </a:lvl2pPr>
      <a:lvl3pPr marL="1524019" indent="-304804" algn="l" rtl="0" eaLnBrk="0" fontAlgn="base" hangingPunct="0">
        <a:spcBef>
          <a:spcPct val="20000"/>
        </a:spcBef>
        <a:spcAft>
          <a:spcPct val="0"/>
        </a:spcAft>
        <a:defRPr sz="2667">
          <a:solidFill>
            <a:schemeClr val="tx1"/>
          </a:solidFill>
          <a:latin typeface="+mn-lt"/>
        </a:defRPr>
      </a:lvl3pPr>
      <a:lvl4pPr marL="2133627" indent="-304804" algn="l" rtl="0" eaLnBrk="0" fontAlgn="base" hangingPunct="0">
        <a:spcBef>
          <a:spcPct val="20000"/>
        </a:spcBef>
        <a:spcAft>
          <a:spcPct val="0"/>
        </a:spcAft>
        <a:defRPr sz="2667">
          <a:solidFill>
            <a:schemeClr val="tx1"/>
          </a:solidFill>
          <a:latin typeface="+mn-lt"/>
        </a:defRPr>
      </a:lvl4pPr>
      <a:lvl5pPr marL="2743235" indent="-304804" algn="l" rtl="0" eaLnBrk="0" fontAlgn="base" hangingPunct="0">
        <a:spcBef>
          <a:spcPct val="20000"/>
        </a:spcBef>
        <a:spcAft>
          <a:spcPct val="0"/>
        </a:spcAft>
        <a:defRPr sz="2667">
          <a:solidFill>
            <a:schemeClr val="tx1"/>
          </a:solidFill>
          <a:latin typeface="+mn-lt"/>
        </a:defRPr>
      </a:lvl5pPr>
      <a:lvl6pPr marL="3352842" indent="-304804" algn="l" rtl="0" fontAlgn="base">
        <a:spcBef>
          <a:spcPct val="20000"/>
        </a:spcBef>
        <a:spcAft>
          <a:spcPct val="0"/>
        </a:spcAft>
        <a:defRPr sz="2667">
          <a:solidFill>
            <a:schemeClr val="tx1"/>
          </a:solidFill>
          <a:latin typeface="+mn-lt"/>
        </a:defRPr>
      </a:lvl6pPr>
      <a:lvl7pPr marL="3962450" indent="-304804" algn="l" rtl="0" fontAlgn="base">
        <a:spcBef>
          <a:spcPct val="20000"/>
        </a:spcBef>
        <a:spcAft>
          <a:spcPct val="0"/>
        </a:spcAft>
        <a:defRPr sz="2667">
          <a:solidFill>
            <a:schemeClr val="tx1"/>
          </a:solidFill>
          <a:latin typeface="+mn-lt"/>
        </a:defRPr>
      </a:lvl7pPr>
      <a:lvl8pPr marL="4572057" indent="-304804" algn="l" rtl="0" fontAlgn="base">
        <a:spcBef>
          <a:spcPct val="20000"/>
        </a:spcBef>
        <a:spcAft>
          <a:spcPct val="0"/>
        </a:spcAft>
        <a:defRPr sz="2667">
          <a:solidFill>
            <a:schemeClr val="tx1"/>
          </a:solidFill>
          <a:latin typeface="+mn-lt"/>
        </a:defRPr>
      </a:lvl8pPr>
      <a:lvl9pPr marL="5181665" indent="-304804" algn="l" rtl="0" fontAlgn="base">
        <a:spcBef>
          <a:spcPct val="20000"/>
        </a:spcBef>
        <a:spcAft>
          <a:spcPct val="0"/>
        </a:spcAft>
        <a:defRPr sz="2667">
          <a:solidFill>
            <a:schemeClr val="tx1"/>
          </a:solidFill>
          <a:latin typeface="+mn-lt"/>
        </a:defRPr>
      </a:lvl9pPr>
    </p:bodyStyle>
    <p:otherStyle>
      <a:defPPr>
        <a:defRPr lang="de-DE"/>
      </a:defPPr>
      <a:lvl1pPr marL="0" algn="l" defTabSz="1219215" rtl="0" eaLnBrk="1" latinLnBrk="0" hangingPunct="1">
        <a:defRPr sz="2400" kern="1200">
          <a:solidFill>
            <a:schemeClr val="tx1"/>
          </a:solidFill>
          <a:latin typeface="+mn-lt"/>
          <a:ea typeface="+mn-ea"/>
          <a:cs typeface="+mn-cs"/>
        </a:defRPr>
      </a:lvl1pPr>
      <a:lvl2pPr marL="609608" algn="l" defTabSz="1219215" rtl="0" eaLnBrk="1" latinLnBrk="0" hangingPunct="1">
        <a:defRPr sz="2400" kern="1200">
          <a:solidFill>
            <a:schemeClr val="tx1"/>
          </a:solidFill>
          <a:latin typeface="+mn-lt"/>
          <a:ea typeface="+mn-ea"/>
          <a:cs typeface="+mn-cs"/>
        </a:defRPr>
      </a:lvl2pPr>
      <a:lvl3pPr marL="1219215" algn="l" defTabSz="1219215" rtl="0" eaLnBrk="1" latinLnBrk="0" hangingPunct="1">
        <a:defRPr sz="2400" kern="1200">
          <a:solidFill>
            <a:schemeClr val="tx1"/>
          </a:solidFill>
          <a:latin typeface="+mn-lt"/>
          <a:ea typeface="+mn-ea"/>
          <a:cs typeface="+mn-cs"/>
        </a:defRPr>
      </a:lvl3pPr>
      <a:lvl4pPr marL="1828823" algn="l" defTabSz="1219215" rtl="0" eaLnBrk="1" latinLnBrk="0" hangingPunct="1">
        <a:defRPr sz="2400" kern="1200">
          <a:solidFill>
            <a:schemeClr val="tx1"/>
          </a:solidFill>
          <a:latin typeface="+mn-lt"/>
          <a:ea typeface="+mn-ea"/>
          <a:cs typeface="+mn-cs"/>
        </a:defRPr>
      </a:lvl4pPr>
      <a:lvl5pPr marL="2438431" algn="l" defTabSz="1219215" rtl="0" eaLnBrk="1" latinLnBrk="0" hangingPunct="1">
        <a:defRPr sz="2400" kern="1200">
          <a:solidFill>
            <a:schemeClr val="tx1"/>
          </a:solidFill>
          <a:latin typeface="+mn-lt"/>
          <a:ea typeface="+mn-ea"/>
          <a:cs typeface="+mn-cs"/>
        </a:defRPr>
      </a:lvl5pPr>
      <a:lvl6pPr marL="3048038" algn="l" defTabSz="1219215" rtl="0" eaLnBrk="1" latinLnBrk="0" hangingPunct="1">
        <a:defRPr sz="2400" kern="1200">
          <a:solidFill>
            <a:schemeClr val="tx1"/>
          </a:solidFill>
          <a:latin typeface="+mn-lt"/>
          <a:ea typeface="+mn-ea"/>
          <a:cs typeface="+mn-cs"/>
        </a:defRPr>
      </a:lvl6pPr>
      <a:lvl7pPr marL="3657646" algn="l" defTabSz="1219215" rtl="0" eaLnBrk="1" latinLnBrk="0" hangingPunct="1">
        <a:defRPr sz="2400" kern="1200">
          <a:solidFill>
            <a:schemeClr val="tx1"/>
          </a:solidFill>
          <a:latin typeface="+mn-lt"/>
          <a:ea typeface="+mn-ea"/>
          <a:cs typeface="+mn-cs"/>
        </a:defRPr>
      </a:lvl7pPr>
      <a:lvl8pPr marL="4267254" algn="l" defTabSz="1219215" rtl="0" eaLnBrk="1" latinLnBrk="0" hangingPunct="1">
        <a:defRPr sz="2400" kern="1200">
          <a:solidFill>
            <a:schemeClr val="tx1"/>
          </a:solidFill>
          <a:latin typeface="+mn-lt"/>
          <a:ea typeface="+mn-ea"/>
          <a:cs typeface="+mn-cs"/>
        </a:defRPr>
      </a:lvl8pPr>
      <a:lvl9pPr marL="4876861" algn="l" defTabSz="121921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40">
          <p15:clr>
            <a:srgbClr val="F26B43"/>
          </p15:clr>
        </p15:guide>
        <p15:guide id="2" pos="288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911424" y="572794"/>
            <a:ext cx="8506104" cy="911990"/>
          </a:xfrm>
          <a:prstGeom prst="rect">
            <a:avLst/>
          </a:prstGeom>
        </p:spPr>
        <p:txBody>
          <a:bodyPr vert="horz" lIns="0" tIns="0" rIns="0" bIns="0" rtlCol="0" anchor="b">
            <a:noAutofit/>
          </a:bodyPr>
          <a:lstStyle/>
          <a:p>
            <a:r>
              <a:rPr lang="sv-SE"/>
              <a:t>Rubrik</a:t>
            </a:r>
          </a:p>
        </p:txBody>
      </p:sp>
      <p:sp>
        <p:nvSpPr>
          <p:cNvPr id="3" name="Platshållare för text 2"/>
          <p:cNvSpPr>
            <a:spLocks noGrp="1"/>
          </p:cNvSpPr>
          <p:nvPr>
            <p:ph type="body" idx="1"/>
          </p:nvPr>
        </p:nvSpPr>
        <p:spPr>
          <a:xfrm>
            <a:off x="911426" y="1844675"/>
            <a:ext cx="6553000" cy="3529014"/>
          </a:xfrm>
          <a:prstGeom prst="rect">
            <a:avLst/>
          </a:prstGeom>
        </p:spPr>
        <p:txBody>
          <a:bodyPr vert="horz" lIns="0" tIns="0" rIns="0" bIns="0" rtlCol="0">
            <a:noAutofit/>
          </a:bodyPr>
          <a:lstStyle/>
          <a:p>
            <a:pPr lvl="0"/>
            <a:r>
              <a:rPr lang="sv-SE"/>
              <a:t>Punktlista</a:t>
            </a:r>
          </a:p>
          <a:p>
            <a:pPr lvl="1"/>
            <a:r>
              <a:rPr lang="sv-SE"/>
              <a:t>Nivå två</a:t>
            </a:r>
          </a:p>
          <a:p>
            <a:pPr lvl="2"/>
            <a:r>
              <a:rPr lang="sv-SE"/>
              <a:t>Nivå tre</a:t>
            </a:r>
          </a:p>
        </p:txBody>
      </p:sp>
    </p:spTree>
    <p:extLst>
      <p:ext uri="{BB962C8B-B14F-4D97-AF65-F5344CB8AC3E}">
        <p14:creationId xmlns:p14="http://schemas.microsoft.com/office/powerpoint/2010/main" val="2289638333"/>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Lst>
  <p:hf sldNum="0" hdr="0" ftr="0" dt="0"/>
  <p:txStyles>
    <p:titleStyle>
      <a:lvl1pPr algn="l" defTabSz="914400" rtl="0" eaLnBrk="1" latinLnBrk="0" hangingPunct="1">
        <a:lnSpc>
          <a:spcPts val="3600"/>
        </a:lnSpc>
        <a:spcBef>
          <a:spcPct val="0"/>
        </a:spcBef>
        <a:buNone/>
        <a:defRPr sz="3000" b="1" kern="1200">
          <a:solidFill>
            <a:schemeClr val="tx1"/>
          </a:solidFill>
          <a:latin typeface="+mj-lt"/>
          <a:ea typeface="+mj-ea"/>
          <a:cs typeface="+mj-cs"/>
        </a:defRPr>
      </a:lvl1pPr>
    </p:titleStyle>
    <p:bodyStyle>
      <a:lvl1pPr marL="269875" indent="-269875" algn="l" defTabSz="914400" rtl="0" eaLnBrk="1" latinLnBrk="0" hangingPunct="1">
        <a:lnSpc>
          <a:spcPts val="2500"/>
        </a:lnSpc>
        <a:spcBef>
          <a:spcPts val="1000"/>
        </a:spcBef>
        <a:spcAft>
          <a:spcPts val="300"/>
        </a:spcAft>
        <a:buFont typeface="Tahoma" panose="020B0604030504040204" pitchFamily="34" charset="0"/>
        <a:buChar char="•"/>
        <a:tabLst/>
        <a:defRPr sz="2000" kern="1200" baseline="0">
          <a:solidFill>
            <a:schemeClr val="tx1"/>
          </a:solidFill>
          <a:latin typeface="+mn-lt"/>
          <a:ea typeface="+mn-ea"/>
          <a:cs typeface="+mn-cs"/>
        </a:defRPr>
      </a:lvl1pPr>
      <a:lvl2pPr marL="360000" indent="-180000" algn="l" defTabSz="914400" rtl="0" eaLnBrk="1" latinLnBrk="0" hangingPunct="1">
        <a:lnSpc>
          <a:spcPts val="2100"/>
        </a:lnSpc>
        <a:spcBef>
          <a:spcPts val="500"/>
        </a:spcBef>
        <a:spcAft>
          <a:spcPts val="200"/>
        </a:spcAft>
        <a:buFont typeface="Arial" panose="020B0604020202020204" pitchFamily="34" charset="0"/>
        <a:buChar char="–"/>
        <a:tabLst/>
        <a:defRPr sz="1700" kern="1200">
          <a:solidFill>
            <a:schemeClr val="tx1"/>
          </a:solidFill>
          <a:latin typeface="+mn-lt"/>
          <a:ea typeface="+mn-ea"/>
          <a:cs typeface="+mn-cs"/>
        </a:defRPr>
      </a:lvl2pPr>
      <a:lvl3pPr marL="540000" indent="-180000" algn="l" defTabSz="914400" rtl="0" eaLnBrk="1" latinLnBrk="0" hangingPunct="1">
        <a:lnSpc>
          <a:spcPts val="1900"/>
        </a:lnSpc>
        <a:spcBef>
          <a:spcPts val="400"/>
        </a:spcBef>
        <a:spcAft>
          <a:spcPts val="200"/>
        </a:spcAft>
        <a:buFont typeface="Arial" panose="020B0604020202020204" pitchFamily="34" charset="0"/>
        <a:buChar char="•"/>
        <a:tabLst/>
        <a:defRPr sz="1500" kern="1200">
          <a:solidFill>
            <a:schemeClr val="tx1"/>
          </a:solidFill>
          <a:latin typeface="+mn-lt"/>
          <a:ea typeface="+mn-ea"/>
          <a:cs typeface="+mn-cs"/>
        </a:defRPr>
      </a:lvl3pPr>
      <a:lvl4pPr marL="72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4pPr>
      <a:lvl5pPr marL="90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5pPr>
      <a:lvl6pPr marL="108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6pPr>
      <a:lvl7pPr marL="126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7pPr>
      <a:lvl8pPr marL="144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8pPr>
      <a:lvl9pPr marL="1620000" indent="-180000" algn="l" defTabSz="914400" rtl="0" eaLnBrk="1" latinLnBrk="0" hangingPunct="1">
        <a:lnSpc>
          <a:spcPts val="2300"/>
        </a:lnSpc>
        <a:spcBef>
          <a:spcPts val="0"/>
        </a:spcBef>
        <a:buFont typeface="Tahoma" panose="020B0604030504040204" pitchFamily="34" charset="0"/>
        <a:buChar char="–"/>
        <a:tabLst/>
        <a:defRPr sz="15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162">
          <p15:clr>
            <a:srgbClr val="F26B43"/>
          </p15:clr>
        </p15:guide>
        <p15:guide id="1" pos="4702">
          <p15:clr>
            <a:srgbClr val="F26B43"/>
          </p15:clr>
        </p15:guide>
        <p15:guide id="2" pos="574">
          <p15:clr>
            <a:srgbClr val="F26B43"/>
          </p15:clr>
        </p15:guide>
        <p15:guide id="3" orient="horz" pos="890">
          <p15:clr>
            <a:srgbClr val="F26B43"/>
          </p15:clr>
        </p15:guide>
        <p15:guide id="4" orient="horz" pos="3395">
          <p15:clr>
            <a:srgbClr val="F26B43"/>
          </p15:clr>
        </p15:guide>
        <p15:guide id="5" pos="711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3400840422"/>
              </p:ext>
            </p:extLst>
          </p:nvPr>
        </p:nvGraphicFramePr>
        <p:xfrm>
          <a:off x="0" y="2"/>
          <a:ext cx="215978" cy="161975"/>
        </p:xfrm>
        <a:graphic>
          <a:graphicData uri="http://schemas.openxmlformats.org/presentationml/2006/ole">
            <mc:AlternateContent xmlns:mc="http://schemas.openxmlformats.org/markup-compatibility/2006">
              <mc:Choice xmlns:v="urn:schemas-microsoft-com:vml" Requires="v">
                <p:oleObj name="think-cell Slide" r:id="rId107" imgW="270" imgH="270" progId="TCLayout.ActiveDocument.1">
                  <p:embed/>
                </p:oleObj>
              </mc:Choice>
              <mc:Fallback>
                <p:oleObj name="think-cell Slide" r:id="rId107" imgW="270" imgH="270" progId="TCLayout.ActiveDocument.1">
                  <p:embed/>
                  <p:pic>
                    <p:nvPicPr>
                      <p:cNvPr id="2" name="Object 1" hidden="1"/>
                      <p:cNvPicPr/>
                      <p:nvPr/>
                    </p:nvPicPr>
                    <p:blipFill>
                      <a:blip r:embed="rId108"/>
                      <a:stretch>
                        <a:fillRect/>
                      </a:stretch>
                    </p:blipFill>
                    <p:spPr>
                      <a:xfrm>
                        <a:off x="0" y="2"/>
                        <a:ext cx="215978" cy="161975"/>
                      </a:xfrm>
                      <a:prstGeom prst="rect">
                        <a:avLst/>
                      </a:prstGeom>
                    </p:spPr>
                  </p:pic>
                </p:oleObj>
              </mc:Fallback>
            </mc:AlternateContent>
          </a:graphicData>
        </a:graphic>
      </p:graphicFrame>
      <p:sp>
        <p:nvSpPr>
          <p:cNvPr id="6" name="Rectangle 5" hidden="1"/>
          <p:cNvSpPr/>
          <p:nvPr>
            <p:custDataLst>
              <p:tags r:id="rId73"/>
            </p:custDataLst>
          </p:nvPr>
        </p:nvSpPr>
        <p:spPr bwMode="auto">
          <a:xfrm>
            <a:off x="0" y="2"/>
            <a:ext cx="215978"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en-US" sz="2400" b="1"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609600" y="7020"/>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buClr>
                <a:schemeClr val="bg1"/>
              </a:buClr>
              <a:tabLst>
                <a:tab pos="361950" algn="l"/>
              </a:tabLst>
            </a:pPr>
            <a:r>
              <a:rPr lang="en-US" sz="1000" cap="all" baseline="0">
                <a:solidFill>
                  <a:schemeClr val="bg1"/>
                </a:solidFill>
                <a:latin typeface="+mn-lt"/>
              </a:rPr>
              <a:t>TRACKER</a:t>
            </a:r>
          </a:p>
        </p:txBody>
      </p:sp>
      <p:sp>
        <p:nvSpPr>
          <p:cNvPr id="11" name="3. Unit of measure" hidden="1"/>
          <p:cNvSpPr txBox="1">
            <a:spLocks noChangeArrowheads="1"/>
          </p:cNvSpPr>
          <p:nvPr/>
        </p:nvSpPr>
        <p:spPr bwMode="gray">
          <a:xfrm>
            <a:off x="609600" y="1198769"/>
            <a:ext cx="10972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tabLst>
                <a:tab pos="361950" algn="l"/>
              </a:tabLst>
              <a:defRPr lang="x-none"/>
            </a:pPr>
            <a:r>
              <a:rPr lang="en-US" sz="1600">
                <a:solidFill>
                  <a:schemeClr val="tx1"/>
                </a:solidFill>
                <a:latin typeface="+mn-lt"/>
              </a:rPr>
              <a:t>Unit of measure</a:t>
            </a:r>
          </a:p>
        </p:txBody>
      </p:sp>
      <p:sp>
        <p:nvSpPr>
          <p:cNvPr id="3" name="Text Placeholder 2"/>
          <p:cNvSpPr>
            <a:spLocks noGrp="1"/>
          </p:cNvSpPr>
          <p:nvPr>
            <p:ph type="body" idx="1"/>
          </p:nvPr>
        </p:nvSpPr>
        <p:spPr bwMode="gray">
          <a:xfrm>
            <a:off x="609600" y="2471775"/>
            <a:ext cx="10972800" cy="1231106"/>
          </a:xfrm>
          <a:prstGeom prst="rect">
            <a:avLst/>
          </a:prstGeom>
        </p:spPr>
        <p:txBody>
          <a:bodyPr vert="horz" wrap="square"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609600" y="1851367"/>
            <a:ext cx="2227807"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p:spPr>
          <p:txBody>
            <a:bodyPr vert="horz" wrap="square" lIns="0" tIns="0" rIns="0" bIns="18288" rtlCol="0" anchor="b">
              <a:spAutoFit/>
            </a:bodyPr>
            <a:lstStyle/>
            <a:p>
              <a:pPr marL="0" lvl="0" indent="0" defTabSz="913572" eaLnBrk="1" latinLnBrk="0" hangingPunct="1">
                <a:buClr>
                  <a:schemeClr val="tx1"/>
                </a:buClr>
                <a:buSzPct val="100000"/>
                <a:buFontTx/>
                <a:buNone/>
              </a:pPr>
              <a:r>
                <a:rPr lang="en-US" sz="1600" b="1" baseline="0">
                  <a:latin typeface="+mn-lt"/>
                </a:rPr>
                <a:t>Title</a:t>
              </a:r>
            </a:p>
            <a:p>
              <a:pPr marL="0" lvl="0" indent="0" defTabSz="913572" eaLnBrk="1" latinLnBrk="0" hangingPunct="1">
                <a:buClr>
                  <a:schemeClr val="tx1"/>
                </a:buClr>
                <a:buSzPct val="100000"/>
                <a:buFontTx/>
                <a:buNone/>
              </a:pPr>
              <a:r>
                <a:rPr lang="en-US" sz="1600" baseline="0">
                  <a:latin typeface="+mn-lt"/>
                </a:rPr>
                <a:t>Unit of measure</a:t>
              </a:r>
            </a:p>
          </p:txBody>
        </p:sp>
      </p:grpSp>
      <p:sp>
        <p:nvSpPr>
          <p:cNvPr id="13" name="4. Footnote" hidden="1"/>
          <p:cNvSpPr txBox="1">
            <a:spLocks noChangeArrowheads="1"/>
          </p:cNvSpPr>
          <p:nvPr userDrawn="1"/>
        </p:nvSpPr>
        <p:spPr bwMode="gray">
          <a:xfrm>
            <a:off x="609600" y="5836400"/>
            <a:ext cx="109728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50" indent="-95250">
              <a:defRPr lang="x-none"/>
            </a:pPr>
            <a:r>
              <a:rPr lang="en-US" sz="900">
                <a:solidFill>
                  <a:schemeClr val="tx1"/>
                </a:solidFill>
                <a:latin typeface="+mn-lt"/>
              </a:rPr>
              <a:t>1 Footnote</a:t>
            </a:r>
          </a:p>
        </p:txBody>
      </p:sp>
      <p:sp>
        <p:nvSpPr>
          <p:cNvPr id="14" name="5. Source" hidden="1"/>
          <p:cNvSpPr>
            <a:spLocks noChangeArrowheads="1"/>
          </p:cNvSpPr>
          <p:nvPr userDrawn="1"/>
        </p:nvSpPr>
        <p:spPr bwMode="gray">
          <a:xfrm>
            <a:off x="3536949" y="6146663"/>
            <a:ext cx="543083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427038" indent="-427038" defTabSz="913572">
              <a:tabLst/>
            </a:pPr>
            <a:r>
              <a:rPr lang="en-US" sz="900">
                <a:solidFill>
                  <a:schemeClr val="tx1"/>
                </a:solidFill>
                <a:latin typeface="+mn-lt"/>
              </a:rPr>
              <a:t>Source: Source</a:t>
            </a:r>
          </a:p>
        </p:txBody>
      </p:sp>
      <p:grpSp>
        <p:nvGrpSpPr>
          <p:cNvPr id="108" name="Sticker" hidden="1"/>
          <p:cNvGrpSpPr/>
          <p:nvPr userDrawn="1"/>
        </p:nvGrpSpPr>
        <p:grpSpPr bwMode="gray">
          <a:xfrm>
            <a:off x="10915377" y="1198769"/>
            <a:ext cx="667023" cy="241447"/>
            <a:chOff x="8073926" y="285750"/>
            <a:chExt cx="666849" cy="241447"/>
          </a:xfrm>
        </p:grpSpPr>
        <p:sp>
          <p:nvSpPr>
            <p:cNvPr id="109" name="StickerRectangle"/>
            <p:cNvSpPr>
              <a:spLocks noChangeArrowheads="1"/>
            </p:cNvSpPr>
            <p:nvPr/>
          </p:nvSpPr>
          <p:spPr bwMode="gray">
            <a:xfrm>
              <a:off x="8073926" y="285750"/>
              <a:ext cx="666849" cy="2414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619">
                <a:buClr>
                  <a:schemeClr val="tx2"/>
                </a:buClr>
              </a:pPr>
              <a:r>
                <a:rPr lang="en-US" sz="1200" noProof="0">
                  <a:solidFill>
                    <a:schemeClr val="tx1"/>
                  </a:solidFill>
                  <a:latin typeface="+mn-lt"/>
                </a:rPr>
                <a:t>STICKER</a:t>
              </a:r>
            </a:p>
          </p:txBody>
        </p:sp>
        <p:cxnSp>
          <p:nvCxnSpPr>
            <p:cNvPr id="110" name="AutoShape 32"/>
            <p:cNvCxnSpPr>
              <a:cxnSpLocks noChangeShapeType="1"/>
              <a:stCxn id="109" idx="4"/>
              <a:endCxn id="109" idx="6"/>
            </p:cNvCxnSpPr>
            <p:nvPr/>
          </p:nvCxnSpPr>
          <p:spPr bwMode="gray">
            <a:xfrm>
              <a:off x="8073926" y="527197"/>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2"/>
              <a:endCxn id="109" idx="0"/>
            </p:cNvCxnSpPr>
            <p:nvPr userDrawn="1"/>
          </p:nvCxnSpPr>
          <p:spPr bwMode="gray">
            <a:xfrm>
              <a:off x="8073926" y="285750"/>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62" name="DirArrow" hidden="1"/>
          <p:cNvSpPr>
            <a:spLocks noChangeArrowheads="1"/>
          </p:cNvSpPr>
          <p:nvPr userDrawn="1">
            <p:custDataLst>
              <p:tags r:id="rId74"/>
            </p:custDataLst>
          </p:nvPr>
        </p:nvSpPr>
        <p:spPr bwMode="gray">
          <a:xfrm rot="5400000">
            <a:off x="5553846" y="2997926"/>
            <a:ext cx="3090672" cy="343497"/>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en-US" sz="1600">
              <a:latin typeface="+mn-lt"/>
            </a:endParaRPr>
          </a:p>
        </p:txBody>
      </p:sp>
      <p:grpSp>
        <p:nvGrpSpPr>
          <p:cNvPr id="68" name="Flow" hidden="1"/>
          <p:cNvGrpSpPr>
            <a:grpSpLocks/>
          </p:cNvGrpSpPr>
          <p:nvPr userDrawn="1">
            <p:custDataLst>
              <p:tags r:id="rId75"/>
            </p:custDataLst>
          </p:nvPr>
        </p:nvGrpSpPr>
        <p:grpSpPr bwMode="gray">
          <a:xfrm>
            <a:off x="1948371" y="3395577"/>
            <a:ext cx="1830388" cy="914400"/>
            <a:chOff x="5905500" y="3124200"/>
            <a:chExt cx="1828800" cy="914400"/>
          </a:xfrm>
          <a:solidFill>
            <a:schemeClr val="accent1"/>
          </a:solidFill>
        </p:grpSpPr>
        <p:sp>
          <p:nvSpPr>
            <p:cNvPr id="69" name="Freeform 68"/>
            <p:cNvSpPr/>
            <p:nvPr>
              <p:custDataLst>
                <p:tags r:id="rId105"/>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mn-lt"/>
              </a:endParaRPr>
            </a:p>
          </p:txBody>
        </p:sp>
        <p:sp>
          <p:nvSpPr>
            <p:cNvPr id="70" name="TextBox 69"/>
            <p:cNvSpPr txBox="1"/>
            <p:nvPr>
              <p:custDataLst>
                <p:tags r:id="rId106"/>
              </p:custDataLst>
            </p:nvPr>
          </p:nvSpPr>
          <p:spPr bwMode="gray">
            <a:xfrm>
              <a:off x="5969000" y="3187700"/>
              <a:ext cx="1524000" cy="793223"/>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grpSp>
      <p:sp>
        <p:nvSpPr>
          <p:cNvPr id="100" name="Oval" hidden="1"/>
          <p:cNvSpPr txBox="1">
            <a:spLocks/>
          </p:cNvSpPr>
          <p:nvPr userDrawn="1"/>
        </p:nvSpPr>
        <p:spPr bwMode="gray">
          <a:xfrm>
            <a:off x="1954973" y="1624338"/>
            <a:ext cx="1525588" cy="1524000"/>
          </a:xfrm>
          <a:prstGeom prst="ellipse">
            <a:avLst/>
          </a:prstGeom>
          <a:solidFill>
            <a:schemeClr val="accent1"/>
          </a:solidFill>
          <a:ln>
            <a:solidFill>
              <a:schemeClr val="tx1"/>
            </a:solidFill>
          </a:ln>
        </p:spPr>
        <p:txBody>
          <a:bodyPr vert="horz" wrap="square" lIns="73152" tIns="73152" rIns="73152" bIns="73152" rtlCol="0" anchor="ctr">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lgn="ctr"/>
            <a:r>
              <a:rPr lang="en-US"/>
              <a:t>Text</a:t>
            </a:r>
          </a:p>
        </p:txBody>
      </p:sp>
      <p:sp>
        <p:nvSpPr>
          <p:cNvPr id="101" name="Body3" hidden="1"/>
          <p:cNvSpPr txBox="1">
            <a:spLocks/>
          </p:cNvSpPr>
          <p:nvPr userDrawn="1"/>
        </p:nvSpPr>
        <p:spPr bwMode="gray">
          <a:xfrm>
            <a:off x="3591714" y="1624337"/>
            <a:ext cx="1525588" cy="1524000"/>
          </a:xfrm>
          <a:prstGeom prst="rect">
            <a:avLst/>
          </a:prstGeom>
          <a:solidFill>
            <a:schemeClr val="accent1"/>
          </a:solidFill>
          <a:ln>
            <a:solidFill>
              <a:schemeClr val="tx1"/>
            </a:solidFill>
          </a:ln>
        </p:spPr>
        <p:txBody>
          <a:bodyPr vert="horz" wrap="square" lIns="73152" tIns="73152" rIns="73152" bIns="73152" rtlCol="0">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a:t>Text</a:t>
            </a:r>
          </a:p>
        </p:txBody>
      </p:sp>
      <p:sp>
        <p:nvSpPr>
          <p:cNvPr id="102" name="RoundedRectangle" hidden="1"/>
          <p:cNvSpPr txBox="1">
            <a:spLocks/>
          </p:cNvSpPr>
          <p:nvPr userDrawn="1"/>
        </p:nvSpPr>
        <p:spPr bwMode="gray">
          <a:xfrm>
            <a:off x="5286771" y="1624338"/>
            <a:ext cx="1525588" cy="1524000"/>
          </a:xfrm>
          <a:prstGeom prst="roundRect">
            <a:avLst/>
          </a:prstGeom>
          <a:solidFill>
            <a:schemeClr val="accent1"/>
          </a:solidFill>
          <a:ln>
            <a:solidFill>
              <a:schemeClr val="tx1"/>
            </a:solidFill>
          </a:ln>
        </p:spPr>
        <p:txBody>
          <a:bodyPr vert="horz" wrap="square" lIns="73152" tIns="73152" rIns="73152" bIns="73152" rtlCol="0">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r>
              <a:rPr lang="en-US"/>
              <a:t>Text</a:t>
            </a:r>
          </a:p>
        </p:txBody>
      </p:sp>
      <p:sp>
        <p:nvSpPr>
          <p:cNvPr id="103" name="Arrow" hidden="1"/>
          <p:cNvSpPr txBox="1">
            <a:spLocks/>
          </p:cNvSpPr>
          <p:nvPr userDrawn="1"/>
        </p:nvSpPr>
        <p:spPr bwMode="gray">
          <a:xfrm>
            <a:off x="1946174" y="4362178"/>
            <a:ext cx="1830388" cy="914400"/>
          </a:xfrm>
          <a:prstGeom prst="rightArrow">
            <a:avLst>
              <a:gd name="adj1" fmla="val 50000"/>
              <a:gd name="adj2" fmla="val 37097"/>
            </a:avLst>
          </a:prstGeom>
          <a:solidFill>
            <a:schemeClr val="accent1"/>
          </a:solidFill>
          <a:ln>
            <a:solidFill>
              <a:schemeClr val="tx1"/>
            </a:solidFill>
          </a:ln>
        </p:spPr>
        <p:txBody>
          <a:bodyPr vert="horz" wrap="square" lIns="73152" tIns="73152" rIns="73152" bIns="73152" rtlCol="0" anchor="ctr">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sp>
        <p:nvSpPr>
          <p:cNvPr id="76" name="Bracket" hidden="1">
            <a:extLst>
              <a:ext uri="{FF2B5EF4-FFF2-40B4-BE49-F238E27FC236}">
                <a16:creationId xmlns:a16="http://schemas.microsoft.com/office/drawing/2014/main" id="{03378CBE-FB83-478F-9CFD-3D41B39200BE}"/>
              </a:ext>
            </a:extLst>
          </p:cNvPr>
          <p:cNvSpPr>
            <a:spLocks noChangeAspect="1"/>
          </p:cNvSpPr>
          <p:nvPr userDrawn="1">
            <p:custDataLst>
              <p:tags r:id="rId76"/>
            </p:custDataLst>
          </p:nvPr>
        </p:nvSpPr>
        <p:spPr bwMode="gray">
          <a:xfrm>
            <a:off x="6514902" y="3395577"/>
            <a:ext cx="190526" cy="1651001"/>
          </a:xfrm>
          <a:custGeom>
            <a:avLst/>
            <a:gdLst>
              <a:gd name="connsiteX0" fmla="*/ 0 w 237731"/>
              <a:gd name="connsiteY0" fmla="*/ 0 h 2667000"/>
              <a:gd name="connsiteX1" fmla="*/ 174231 w 237731"/>
              <a:gd name="connsiteY1" fmla="*/ 101600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25025 w 237731"/>
              <a:gd name="connsiteY2" fmla="*/ 762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174231 w 174231"/>
              <a:gd name="connsiteY4" fmla="*/ 1905000 h 2667000"/>
              <a:gd name="connsiteX5" fmla="*/ 174231 w 174231"/>
              <a:gd name="connsiteY5" fmla="*/ 2667000 h 2667000"/>
              <a:gd name="connsiteX6" fmla="*/ 47231 w 1742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25025 w 174231"/>
              <a:gd name="connsiteY4" fmla="*/ 889000 h 2667000"/>
              <a:gd name="connsiteX5" fmla="*/ 174231 w 174231"/>
              <a:gd name="connsiteY5" fmla="*/ 2667000 h 2667000"/>
              <a:gd name="connsiteX6" fmla="*/ 47231 w 174231"/>
              <a:gd name="connsiteY6" fmla="*/ 2667000 h 2667000"/>
              <a:gd name="connsiteX0" fmla="*/ 0 w 47231"/>
              <a:gd name="connsiteY0" fmla="*/ 0 h 2667000"/>
              <a:gd name="connsiteX1" fmla="*/ 25025 w 47231"/>
              <a:gd name="connsiteY1" fmla="*/ 0 h 2667000"/>
              <a:gd name="connsiteX2" fmla="*/ 25025 w 47231"/>
              <a:gd name="connsiteY2" fmla="*/ 762000 h 2667000"/>
              <a:gd name="connsiteX3" fmla="*/ 37537 w 47231"/>
              <a:gd name="connsiteY3" fmla="*/ 825500 h 2667000"/>
              <a:gd name="connsiteX4" fmla="*/ 25025 w 47231"/>
              <a:gd name="connsiteY4" fmla="*/ 889000 h 2667000"/>
              <a:gd name="connsiteX5" fmla="*/ 25025 w 47231"/>
              <a:gd name="connsiteY5" fmla="*/ 1651001 h 2667000"/>
              <a:gd name="connsiteX6" fmla="*/ 47231 w 47231"/>
              <a:gd name="connsiteY6" fmla="*/ 2667000 h 2667000"/>
              <a:gd name="connsiteX0" fmla="*/ 0 w 37537"/>
              <a:gd name="connsiteY0" fmla="*/ 0 h 1651001"/>
              <a:gd name="connsiteX1" fmla="*/ 25025 w 37537"/>
              <a:gd name="connsiteY1" fmla="*/ 0 h 1651001"/>
              <a:gd name="connsiteX2" fmla="*/ 25025 w 37537"/>
              <a:gd name="connsiteY2" fmla="*/ 762000 h 1651001"/>
              <a:gd name="connsiteX3" fmla="*/ 37537 w 37537"/>
              <a:gd name="connsiteY3" fmla="*/ 825500 h 1651001"/>
              <a:gd name="connsiteX4" fmla="*/ 25025 w 37537"/>
              <a:gd name="connsiteY4" fmla="*/ 889000 h 1651001"/>
              <a:gd name="connsiteX5" fmla="*/ 25025 w 37537"/>
              <a:gd name="connsiteY5" fmla="*/ 1651001 h 1651001"/>
              <a:gd name="connsiteX6" fmla="*/ 1 w 37537"/>
              <a:gd name="connsiteY6" fmla="*/ 1651001 h 1651001"/>
              <a:gd name="connsiteX0" fmla="*/ 0 w 443862"/>
              <a:gd name="connsiteY0" fmla="*/ 0 h 5119150"/>
              <a:gd name="connsiteX1" fmla="*/ 431350 w 443862"/>
              <a:gd name="connsiteY1" fmla="*/ 3468149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8826 w 443862"/>
              <a:gd name="connsiteY2" fmla="*/ 762000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431350 w 431350"/>
              <a:gd name="connsiteY4" fmla="*/ 4357149 h 5119150"/>
              <a:gd name="connsiteX5" fmla="*/ 431350 w 431350"/>
              <a:gd name="connsiteY5" fmla="*/ 5119150 h 5119150"/>
              <a:gd name="connsiteX6" fmla="*/ 406326 w 431350"/>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8826 w 431350"/>
              <a:gd name="connsiteY4" fmla="*/ 889000 h 5119150"/>
              <a:gd name="connsiteX5" fmla="*/ 431350 w 431350"/>
              <a:gd name="connsiteY5" fmla="*/ 5119150 h 5119150"/>
              <a:gd name="connsiteX6" fmla="*/ 406326 w 431350"/>
              <a:gd name="connsiteY6" fmla="*/ 5119150 h 5119150"/>
              <a:gd name="connsiteX0" fmla="*/ 0 w 406326"/>
              <a:gd name="connsiteY0" fmla="*/ 0 h 5119150"/>
              <a:gd name="connsiteX1" fmla="*/ 8826 w 406326"/>
              <a:gd name="connsiteY1" fmla="*/ 0 h 5119150"/>
              <a:gd name="connsiteX2" fmla="*/ 8826 w 406326"/>
              <a:gd name="connsiteY2" fmla="*/ 762000 h 5119150"/>
              <a:gd name="connsiteX3" fmla="*/ 13239 w 406326"/>
              <a:gd name="connsiteY3" fmla="*/ 825500 h 5119150"/>
              <a:gd name="connsiteX4" fmla="*/ 8826 w 406326"/>
              <a:gd name="connsiteY4" fmla="*/ 889000 h 5119150"/>
              <a:gd name="connsiteX5" fmla="*/ 8826 w 406326"/>
              <a:gd name="connsiteY5" fmla="*/ 1651001 h 5119150"/>
              <a:gd name="connsiteX6" fmla="*/ 406326 w 406326"/>
              <a:gd name="connsiteY6" fmla="*/ 5119150 h 5119150"/>
              <a:gd name="connsiteX0" fmla="*/ 0 w 13239"/>
              <a:gd name="connsiteY0" fmla="*/ 0 h 1651001"/>
              <a:gd name="connsiteX1" fmla="*/ 8826 w 13239"/>
              <a:gd name="connsiteY1" fmla="*/ 0 h 1651001"/>
              <a:gd name="connsiteX2" fmla="*/ 8826 w 13239"/>
              <a:gd name="connsiteY2" fmla="*/ 762000 h 1651001"/>
              <a:gd name="connsiteX3" fmla="*/ 13239 w 13239"/>
              <a:gd name="connsiteY3" fmla="*/ 825500 h 1651001"/>
              <a:gd name="connsiteX4" fmla="*/ 8826 w 13239"/>
              <a:gd name="connsiteY4" fmla="*/ 889000 h 1651001"/>
              <a:gd name="connsiteX5" fmla="*/ 8826 w 13239"/>
              <a:gd name="connsiteY5" fmla="*/ 1651001 h 1651001"/>
              <a:gd name="connsiteX6" fmla="*/ 0 w 13239"/>
              <a:gd name="connsiteY6" fmla="*/ 1651001 h 1651001"/>
              <a:gd name="connsiteX0" fmla="*/ 0 w 438662"/>
              <a:gd name="connsiteY0" fmla="*/ 0 h 5119150"/>
              <a:gd name="connsiteX1" fmla="*/ 434249 w 438662"/>
              <a:gd name="connsiteY1" fmla="*/ 3468149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8826 w 438662"/>
              <a:gd name="connsiteY2" fmla="*/ 762000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434249 w 434249"/>
              <a:gd name="connsiteY4" fmla="*/ 4357149 h 5119150"/>
              <a:gd name="connsiteX5" fmla="*/ 434249 w 434249"/>
              <a:gd name="connsiteY5" fmla="*/ 5119150 h 5119150"/>
              <a:gd name="connsiteX6" fmla="*/ 425423 w 434249"/>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8826 w 434249"/>
              <a:gd name="connsiteY4" fmla="*/ 889000 h 5119150"/>
              <a:gd name="connsiteX5" fmla="*/ 434249 w 434249"/>
              <a:gd name="connsiteY5" fmla="*/ 5119150 h 5119150"/>
              <a:gd name="connsiteX6" fmla="*/ 425423 w 434249"/>
              <a:gd name="connsiteY6" fmla="*/ 5119150 h 5119150"/>
              <a:gd name="connsiteX0" fmla="*/ 0 w 425423"/>
              <a:gd name="connsiteY0" fmla="*/ 0 h 5119150"/>
              <a:gd name="connsiteX1" fmla="*/ 8826 w 425423"/>
              <a:gd name="connsiteY1" fmla="*/ 0 h 5119150"/>
              <a:gd name="connsiteX2" fmla="*/ 8826 w 425423"/>
              <a:gd name="connsiteY2" fmla="*/ 762000 h 5119150"/>
              <a:gd name="connsiteX3" fmla="*/ 13240 w 425423"/>
              <a:gd name="connsiteY3" fmla="*/ 825500 h 5119150"/>
              <a:gd name="connsiteX4" fmla="*/ 8826 w 425423"/>
              <a:gd name="connsiteY4" fmla="*/ 889000 h 5119150"/>
              <a:gd name="connsiteX5" fmla="*/ 8826 w 425423"/>
              <a:gd name="connsiteY5" fmla="*/ 1651001 h 5119150"/>
              <a:gd name="connsiteX6" fmla="*/ 425423 w 425423"/>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466020"/>
              <a:gd name="connsiteY0" fmla="*/ 0 h 5119150"/>
              <a:gd name="connsiteX1" fmla="*/ 461606 w 466020"/>
              <a:gd name="connsiteY1" fmla="*/ 3468149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8826 w 466020"/>
              <a:gd name="connsiteY2" fmla="*/ 762000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461606 w 461606"/>
              <a:gd name="connsiteY4" fmla="*/ 4357149 h 5119150"/>
              <a:gd name="connsiteX5" fmla="*/ 461606 w 461606"/>
              <a:gd name="connsiteY5" fmla="*/ 5119150 h 5119150"/>
              <a:gd name="connsiteX6" fmla="*/ 452780 w 461606"/>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8826 w 461606"/>
              <a:gd name="connsiteY4" fmla="*/ 889000 h 5119150"/>
              <a:gd name="connsiteX5" fmla="*/ 461606 w 461606"/>
              <a:gd name="connsiteY5" fmla="*/ 5119150 h 5119150"/>
              <a:gd name="connsiteX6" fmla="*/ 452780 w 461606"/>
              <a:gd name="connsiteY6" fmla="*/ 5119150 h 5119150"/>
              <a:gd name="connsiteX0" fmla="*/ 0 w 452780"/>
              <a:gd name="connsiteY0" fmla="*/ 0 h 5119150"/>
              <a:gd name="connsiteX1" fmla="*/ 8826 w 452780"/>
              <a:gd name="connsiteY1" fmla="*/ 0 h 5119150"/>
              <a:gd name="connsiteX2" fmla="*/ 8826 w 452780"/>
              <a:gd name="connsiteY2" fmla="*/ 762000 h 5119150"/>
              <a:gd name="connsiteX3" fmla="*/ 13240 w 452780"/>
              <a:gd name="connsiteY3" fmla="*/ 825500 h 5119150"/>
              <a:gd name="connsiteX4" fmla="*/ 8826 w 452780"/>
              <a:gd name="connsiteY4" fmla="*/ 889000 h 5119150"/>
              <a:gd name="connsiteX5" fmla="*/ 8826 w 452780"/>
              <a:gd name="connsiteY5" fmla="*/ 1651001 h 5119150"/>
              <a:gd name="connsiteX6" fmla="*/ 452780 w 452780"/>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83612"/>
              <a:gd name="connsiteY0" fmla="*/ 0 h 5119150"/>
              <a:gd name="connsiteX1" fmla="*/ 79198 w 83612"/>
              <a:gd name="connsiteY1" fmla="*/ 3468149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1372 w 83612"/>
              <a:gd name="connsiteY2" fmla="*/ 762000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79198 w 79198"/>
              <a:gd name="connsiteY4" fmla="*/ 4357149 h 5119150"/>
              <a:gd name="connsiteX5" fmla="*/ 79198 w 79198"/>
              <a:gd name="connsiteY5" fmla="*/ 5119150 h 5119150"/>
              <a:gd name="connsiteX6" fmla="*/ 70372 w 79198"/>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1372 w 79198"/>
              <a:gd name="connsiteY4" fmla="*/ 889000 h 5119150"/>
              <a:gd name="connsiteX5" fmla="*/ 79198 w 79198"/>
              <a:gd name="connsiteY5" fmla="*/ 5119150 h 5119150"/>
              <a:gd name="connsiteX6" fmla="*/ 70372 w 79198"/>
              <a:gd name="connsiteY6" fmla="*/ 5119150 h 5119150"/>
              <a:gd name="connsiteX0" fmla="*/ 0 w 70372"/>
              <a:gd name="connsiteY0" fmla="*/ 0 h 5119150"/>
              <a:gd name="connsiteX1" fmla="*/ 1372 w 70372"/>
              <a:gd name="connsiteY1" fmla="*/ 0 h 5119150"/>
              <a:gd name="connsiteX2" fmla="*/ 1372 w 70372"/>
              <a:gd name="connsiteY2" fmla="*/ 762000 h 5119150"/>
              <a:gd name="connsiteX3" fmla="*/ 2058 w 70372"/>
              <a:gd name="connsiteY3" fmla="*/ 825500 h 5119150"/>
              <a:gd name="connsiteX4" fmla="*/ 1372 w 70372"/>
              <a:gd name="connsiteY4" fmla="*/ 889000 h 5119150"/>
              <a:gd name="connsiteX5" fmla="*/ 1372 w 70372"/>
              <a:gd name="connsiteY5" fmla="*/ 1651001 h 5119150"/>
              <a:gd name="connsiteX6" fmla="*/ 70372 w 70372"/>
              <a:gd name="connsiteY6" fmla="*/ 5119150 h 5119150"/>
              <a:gd name="connsiteX0" fmla="*/ 0 w 2058"/>
              <a:gd name="connsiteY0" fmla="*/ 0 h 1651001"/>
              <a:gd name="connsiteX1" fmla="*/ 1372 w 2058"/>
              <a:gd name="connsiteY1" fmla="*/ 0 h 1651001"/>
              <a:gd name="connsiteX2" fmla="*/ 1372 w 2058"/>
              <a:gd name="connsiteY2" fmla="*/ 762000 h 1651001"/>
              <a:gd name="connsiteX3" fmla="*/ 2058 w 2058"/>
              <a:gd name="connsiteY3" fmla="*/ 825500 h 1651001"/>
              <a:gd name="connsiteX4" fmla="*/ 1372 w 2058"/>
              <a:gd name="connsiteY4" fmla="*/ 889000 h 1651001"/>
              <a:gd name="connsiteX5" fmla="*/ 1372 w 2058"/>
              <a:gd name="connsiteY5" fmla="*/ 1651001 h 1651001"/>
              <a:gd name="connsiteX6" fmla="*/ 0 w 2058"/>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 h="1651001">
                <a:moveTo>
                  <a:pt x="0" y="0"/>
                </a:moveTo>
                <a:lnTo>
                  <a:pt x="1372" y="0"/>
                </a:lnTo>
                <a:lnTo>
                  <a:pt x="1372" y="762000"/>
                </a:lnTo>
                <a:lnTo>
                  <a:pt x="2058" y="825500"/>
                </a:lnTo>
                <a:lnTo>
                  <a:pt x="1372" y="889000"/>
                </a:lnTo>
                <a:lnTo>
                  <a:pt x="1372"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77" name="SingleChevron" hidden="1">
            <a:extLst>
              <a:ext uri="{FF2B5EF4-FFF2-40B4-BE49-F238E27FC236}">
                <a16:creationId xmlns:a16="http://schemas.microsoft.com/office/drawing/2014/main" id="{E60D77BD-A62E-4CA5-9A51-C84D751936C2}"/>
              </a:ext>
            </a:extLst>
          </p:cNvPr>
          <p:cNvSpPr>
            <a:spLocks noChangeAspect="1"/>
          </p:cNvSpPr>
          <p:nvPr userDrawn="1">
            <p:custDataLst>
              <p:tags r:id="rId77"/>
            </p:custDataLst>
          </p:nvPr>
        </p:nvSpPr>
        <p:spPr bwMode="gray">
          <a:xfrm>
            <a:off x="3830992" y="4433899"/>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nvGrpSpPr>
          <p:cNvPr id="78" name="DoubleChevron2" hidden="1">
            <a:extLst>
              <a:ext uri="{FF2B5EF4-FFF2-40B4-BE49-F238E27FC236}">
                <a16:creationId xmlns:a16="http://schemas.microsoft.com/office/drawing/2014/main" id="{6FEDCEFE-A08D-4C06-BC80-77EA60DD4826}"/>
              </a:ext>
            </a:extLst>
          </p:cNvPr>
          <p:cNvGrpSpPr>
            <a:grpSpLocks noChangeAspect="1"/>
          </p:cNvGrpSpPr>
          <p:nvPr userDrawn="1">
            <p:custDataLst>
              <p:tags r:id="rId78"/>
            </p:custDataLst>
          </p:nvPr>
        </p:nvGrpSpPr>
        <p:grpSpPr bwMode="gray">
          <a:xfrm>
            <a:off x="5099495" y="4433899"/>
            <a:ext cx="1242929" cy="1524000"/>
            <a:chOff x="1270000" y="1270000"/>
            <a:chExt cx="2951957" cy="3619500"/>
          </a:xfrm>
          <a:solidFill>
            <a:schemeClr val="accent1"/>
          </a:solidFill>
        </p:grpSpPr>
        <p:sp>
          <p:nvSpPr>
            <p:cNvPr id="79" name="Chevron1">
              <a:extLst>
                <a:ext uri="{FF2B5EF4-FFF2-40B4-BE49-F238E27FC236}">
                  <a16:creationId xmlns:a16="http://schemas.microsoft.com/office/drawing/2014/main" id="{17C1E408-1553-434A-BFC7-03A76C8F21A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0" name="Chevron2">
              <a:extLst>
                <a:ext uri="{FF2B5EF4-FFF2-40B4-BE49-F238E27FC236}">
                  <a16:creationId xmlns:a16="http://schemas.microsoft.com/office/drawing/2014/main" id="{D2E4BF40-AD8C-4178-90D0-BDAB2DF6E5D1}"/>
                </a:ext>
              </a:extLst>
            </p:cNvPr>
            <p:cNvSpPr>
              <a:spLocks noChangeAspect="1"/>
            </p:cNvSpPr>
            <p:nvPr>
              <p:custDataLst>
                <p:tags r:id="rId104"/>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1" name="DoubleChevron" hidden="1">
            <a:extLst>
              <a:ext uri="{FF2B5EF4-FFF2-40B4-BE49-F238E27FC236}">
                <a16:creationId xmlns:a16="http://schemas.microsoft.com/office/drawing/2014/main" id="{B319772F-A619-4A37-8835-3FEA1A1C0AA9}"/>
              </a:ext>
            </a:extLst>
          </p:cNvPr>
          <p:cNvGrpSpPr>
            <a:grpSpLocks noChangeAspect="1"/>
          </p:cNvGrpSpPr>
          <p:nvPr userDrawn="1">
            <p:custDataLst>
              <p:tags r:id="rId79"/>
            </p:custDataLst>
          </p:nvPr>
        </p:nvGrpSpPr>
        <p:grpSpPr bwMode="gray">
          <a:xfrm>
            <a:off x="4291454" y="4433899"/>
            <a:ext cx="1014329" cy="1524000"/>
            <a:chOff x="1270000" y="1270000"/>
            <a:chExt cx="2409032" cy="3619500"/>
          </a:xfrm>
          <a:solidFill>
            <a:schemeClr val="accent1"/>
          </a:solidFill>
        </p:grpSpPr>
        <p:sp>
          <p:nvSpPr>
            <p:cNvPr id="82" name="Chevron1">
              <a:extLst>
                <a:ext uri="{FF2B5EF4-FFF2-40B4-BE49-F238E27FC236}">
                  <a16:creationId xmlns:a16="http://schemas.microsoft.com/office/drawing/2014/main" id="{57EB4BB7-8511-4ADB-82EA-76355A311A60}"/>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3" name="Chevron2">
              <a:extLst>
                <a:ext uri="{FF2B5EF4-FFF2-40B4-BE49-F238E27FC236}">
                  <a16:creationId xmlns:a16="http://schemas.microsoft.com/office/drawing/2014/main" id="{35C48D4F-1AEB-4DAE-854E-C9D344603263}"/>
                </a:ext>
              </a:extLst>
            </p:cNvPr>
            <p:cNvSpPr>
              <a:spLocks noChangeAspect="1"/>
            </p:cNvSpPr>
            <p:nvPr>
              <p:custDataLst>
                <p:tags r:id="rId103"/>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4" name="LegendBoxes" hidden="1">
            <a:extLst>
              <a:ext uri="{FF2B5EF4-FFF2-40B4-BE49-F238E27FC236}">
                <a16:creationId xmlns:a16="http://schemas.microsoft.com/office/drawing/2014/main" id="{9C237DCA-10C7-4200-BCF1-5C9C0E72EDB0}"/>
              </a:ext>
            </a:extLst>
          </p:cNvPr>
          <p:cNvGrpSpPr>
            <a:grpSpLocks/>
          </p:cNvGrpSpPr>
          <p:nvPr userDrawn="1"/>
        </p:nvGrpSpPr>
        <p:grpSpPr bwMode="gray">
          <a:xfrm>
            <a:off x="10818613" y="1198769"/>
            <a:ext cx="763787" cy="996951"/>
            <a:chOff x="4936" y="176"/>
            <a:chExt cx="481" cy="628"/>
          </a:xfrm>
        </p:grpSpPr>
        <p:sp>
          <p:nvSpPr>
            <p:cNvPr id="85" name="Legend1">
              <a:extLst>
                <a:ext uri="{FF2B5EF4-FFF2-40B4-BE49-F238E27FC236}">
                  <a16:creationId xmlns:a16="http://schemas.microsoft.com/office/drawing/2014/main" id="{EB2D023B-B5E7-4C62-9412-E0CCE214D227}"/>
                </a:ext>
              </a:extLst>
            </p:cNvPr>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6" name="LegendRectangle1">
              <a:extLst>
                <a:ext uri="{FF2B5EF4-FFF2-40B4-BE49-F238E27FC236}">
                  <a16:creationId xmlns:a16="http://schemas.microsoft.com/office/drawing/2014/main" id="{DD2C6EC2-28D0-4B3C-A6B8-A280CBFE9EEE}"/>
                </a:ext>
              </a:extLst>
            </p:cNvPr>
            <p:cNvSpPr>
              <a:spLocks noChangeArrowheads="1"/>
            </p:cNvSpPr>
            <p:nvPr/>
          </p:nvSpPr>
          <p:spPr bwMode="gray">
            <a:xfrm>
              <a:off x="4936" y="182"/>
              <a:ext cx="104" cy="104"/>
            </a:xfrm>
            <a:prstGeom prst="rect">
              <a:avLst/>
            </a:prstGeom>
            <a:solidFill>
              <a:srgbClr val="57FF7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7" name="Legend2">
              <a:extLst>
                <a:ext uri="{FF2B5EF4-FFF2-40B4-BE49-F238E27FC236}">
                  <a16:creationId xmlns:a16="http://schemas.microsoft.com/office/drawing/2014/main" id="{013CDFD3-E919-4798-B18C-A575039245D5}"/>
                </a:ext>
              </a:extLst>
            </p:cNvPr>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8" name="LegendRectangle2">
              <a:extLst>
                <a:ext uri="{FF2B5EF4-FFF2-40B4-BE49-F238E27FC236}">
                  <a16:creationId xmlns:a16="http://schemas.microsoft.com/office/drawing/2014/main" id="{E5798A9D-0E96-40C8-8E58-080D48A7CD1D}"/>
                </a:ext>
              </a:extLst>
            </p:cNvPr>
            <p:cNvSpPr>
              <a:spLocks noChangeArrowheads="1"/>
            </p:cNvSpPr>
            <p:nvPr/>
          </p:nvSpPr>
          <p:spPr bwMode="gray">
            <a:xfrm>
              <a:off x="4936" y="352"/>
              <a:ext cx="104" cy="104"/>
            </a:xfrm>
            <a:prstGeom prst="rect">
              <a:avLst/>
            </a:prstGeom>
            <a:solidFill>
              <a:srgbClr val="1AB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9" name="Legend3">
              <a:extLst>
                <a:ext uri="{FF2B5EF4-FFF2-40B4-BE49-F238E27FC236}">
                  <a16:creationId xmlns:a16="http://schemas.microsoft.com/office/drawing/2014/main" id="{5D401F93-351C-4F43-A16E-949E06E55283}"/>
                </a:ext>
              </a:extLst>
            </p:cNvPr>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0" name="LegendRectangle3">
              <a:extLst>
                <a:ext uri="{FF2B5EF4-FFF2-40B4-BE49-F238E27FC236}">
                  <a16:creationId xmlns:a16="http://schemas.microsoft.com/office/drawing/2014/main" id="{18128B30-7107-4714-B19A-B97791A280B6}"/>
                </a:ext>
              </a:extLst>
            </p:cNvPr>
            <p:cNvSpPr>
              <a:spLocks noChangeArrowheads="1"/>
            </p:cNvSpPr>
            <p:nvPr/>
          </p:nvSpPr>
          <p:spPr bwMode="gray">
            <a:xfrm>
              <a:off x="4936" y="523"/>
              <a:ext cx="104" cy="104"/>
            </a:xfrm>
            <a:prstGeom prst="rect">
              <a:avLst/>
            </a:prstGeom>
            <a:solidFill>
              <a:srgbClr val="664D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91" name="Legend4">
              <a:extLst>
                <a:ext uri="{FF2B5EF4-FFF2-40B4-BE49-F238E27FC236}">
                  <a16:creationId xmlns:a16="http://schemas.microsoft.com/office/drawing/2014/main" id="{A20C8F97-B93B-4E1E-85BD-F963B3CC4CCC}"/>
                </a:ext>
              </a:extLst>
            </p:cNvPr>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2" name="LegendRectangle4">
              <a:extLst>
                <a:ext uri="{FF2B5EF4-FFF2-40B4-BE49-F238E27FC236}">
                  <a16:creationId xmlns:a16="http://schemas.microsoft.com/office/drawing/2014/main" id="{58194082-F22A-4D6C-BF90-2137D7493A4D}"/>
                </a:ext>
              </a:extLst>
            </p:cNvPr>
            <p:cNvSpPr>
              <a:spLocks noChangeArrowheads="1"/>
            </p:cNvSpPr>
            <p:nvPr/>
          </p:nvSpPr>
          <p:spPr bwMode="gray">
            <a:xfrm>
              <a:off x="4936" y="694"/>
              <a:ext cx="104" cy="104"/>
            </a:xfrm>
            <a:prstGeom prst="rect">
              <a:avLst/>
            </a:prstGeom>
            <a:solidFill>
              <a:srgbClr val="0D4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93" name="LegendLines" hidden="1">
            <a:extLst>
              <a:ext uri="{FF2B5EF4-FFF2-40B4-BE49-F238E27FC236}">
                <a16:creationId xmlns:a16="http://schemas.microsoft.com/office/drawing/2014/main" id="{80EA943C-A04B-4DFA-8E73-163E0B650A73}"/>
              </a:ext>
            </a:extLst>
          </p:cNvPr>
          <p:cNvGrpSpPr/>
          <p:nvPr userDrawn="1"/>
        </p:nvGrpSpPr>
        <p:grpSpPr bwMode="gray">
          <a:xfrm>
            <a:off x="10510558" y="1198769"/>
            <a:ext cx="1071842" cy="730251"/>
            <a:chOff x="7740638" y="619221"/>
            <a:chExt cx="1071842" cy="730251"/>
          </a:xfrm>
        </p:grpSpPr>
        <p:sp>
          <p:nvSpPr>
            <p:cNvPr id="94" name="LineLegend1">
              <a:extLst>
                <a:ext uri="{FF2B5EF4-FFF2-40B4-BE49-F238E27FC236}">
                  <a16:creationId xmlns:a16="http://schemas.microsoft.com/office/drawing/2014/main" id="{BE230623-0273-4B11-A460-045595F1852B}"/>
                </a:ext>
              </a:extLst>
            </p:cNvPr>
            <p:cNvSpPr>
              <a:spLocks noChangeShapeType="1"/>
            </p:cNvSpPr>
            <p:nvPr/>
          </p:nvSpPr>
          <p:spPr bwMode="gray">
            <a:xfrm>
              <a:off x="7740638" y="711296"/>
              <a:ext cx="457319" cy="0"/>
            </a:xfrm>
            <a:prstGeom prst="line">
              <a:avLst/>
            </a:prstGeom>
            <a:noFill/>
            <a:ln w="28575">
              <a:solidFill>
                <a:srgbClr val="0D4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5" name="LineLegend2">
              <a:extLst>
                <a:ext uri="{FF2B5EF4-FFF2-40B4-BE49-F238E27FC236}">
                  <a16:creationId xmlns:a16="http://schemas.microsoft.com/office/drawing/2014/main" id="{1A0431A9-E5D0-4632-8BC7-9F196B4F9A19}"/>
                </a:ext>
              </a:extLst>
            </p:cNvPr>
            <p:cNvSpPr>
              <a:spLocks noChangeShapeType="1"/>
            </p:cNvSpPr>
            <p:nvPr/>
          </p:nvSpPr>
          <p:spPr bwMode="gray">
            <a:xfrm>
              <a:off x="7740638" y="984347"/>
              <a:ext cx="457319" cy="0"/>
            </a:xfrm>
            <a:prstGeom prst="line">
              <a:avLst/>
            </a:prstGeom>
            <a:noFill/>
            <a:ln w="28575">
              <a:solidFill>
                <a:srgbClr val="0D40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6" name="LineLegend3">
              <a:extLst>
                <a:ext uri="{FF2B5EF4-FFF2-40B4-BE49-F238E27FC236}">
                  <a16:creationId xmlns:a16="http://schemas.microsoft.com/office/drawing/2014/main" id="{A5D065B3-FD8E-46B0-95C2-F0D7722BA859}"/>
                </a:ext>
              </a:extLst>
            </p:cNvPr>
            <p:cNvSpPr>
              <a:spLocks noChangeShapeType="1"/>
            </p:cNvSpPr>
            <p:nvPr/>
          </p:nvSpPr>
          <p:spPr bwMode="gray">
            <a:xfrm>
              <a:off x="7740638" y="1257397"/>
              <a:ext cx="457319" cy="0"/>
            </a:xfrm>
            <a:prstGeom prst="line">
              <a:avLst/>
            </a:prstGeom>
            <a:noFill/>
            <a:ln w="28575">
              <a:solidFill>
                <a:srgbClr val="0D40F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7" name="Legend1">
              <a:extLst>
                <a:ext uri="{FF2B5EF4-FFF2-40B4-BE49-F238E27FC236}">
                  <a16:creationId xmlns:a16="http://schemas.microsoft.com/office/drawing/2014/main" id="{44632945-4752-4575-92CD-9378CE02E679}"/>
                </a:ext>
              </a:extLst>
            </p:cNvPr>
            <p:cNvSpPr>
              <a:spLocks noChangeArrowheads="1"/>
            </p:cNvSpPr>
            <p:nvPr/>
          </p:nvSpPr>
          <p:spPr bwMode="gray">
            <a:xfrm>
              <a:off x="8302760" y="619221"/>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8" name="Legend2">
              <a:extLst>
                <a:ext uri="{FF2B5EF4-FFF2-40B4-BE49-F238E27FC236}">
                  <a16:creationId xmlns:a16="http://schemas.microsoft.com/office/drawing/2014/main" id="{0E606291-8B72-47A8-9122-CF6D12F129C4}"/>
                </a:ext>
              </a:extLst>
            </p:cNvPr>
            <p:cNvSpPr>
              <a:spLocks noChangeArrowheads="1"/>
            </p:cNvSpPr>
            <p:nvPr/>
          </p:nvSpPr>
          <p:spPr bwMode="gray">
            <a:xfrm>
              <a:off x="8302760" y="89227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9" name="Legend3">
              <a:extLst>
                <a:ext uri="{FF2B5EF4-FFF2-40B4-BE49-F238E27FC236}">
                  <a16:creationId xmlns:a16="http://schemas.microsoft.com/office/drawing/2014/main" id="{0918CFAB-B8D5-4A37-919D-807A700B2DE8}"/>
                </a:ext>
              </a:extLst>
            </p:cNvPr>
            <p:cNvSpPr>
              <a:spLocks noChangeArrowheads="1"/>
            </p:cNvSpPr>
            <p:nvPr/>
          </p:nvSpPr>
          <p:spPr bwMode="gray">
            <a:xfrm>
              <a:off x="8302760" y="116532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grpSp>
        <p:nvGrpSpPr>
          <p:cNvPr id="104" name="LegendMoons" hidden="1">
            <a:extLst>
              <a:ext uri="{FF2B5EF4-FFF2-40B4-BE49-F238E27FC236}">
                <a16:creationId xmlns:a16="http://schemas.microsoft.com/office/drawing/2014/main" id="{C829E7EF-CC67-457B-9EEF-6A378FFD1079}"/>
              </a:ext>
            </a:extLst>
          </p:cNvPr>
          <p:cNvGrpSpPr/>
          <p:nvPr userDrawn="1"/>
        </p:nvGrpSpPr>
        <p:grpSpPr bwMode="gray">
          <a:xfrm>
            <a:off x="10751754" y="1198769"/>
            <a:ext cx="830646" cy="1306516"/>
            <a:chOff x="7769225" y="2105025"/>
            <a:chExt cx="830430" cy="1306516"/>
          </a:xfrm>
        </p:grpSpPr>
        <p:grpSp>
          <p:nvGrpSpPr>
            <p:cNvPr id="105" name="MoonLegend1">
              <a:extLst>
                <a:ext uri="{FF2B5EF4-FFF2-40B4-BE49-F238E27FC236}">
                  <a16:creationId xmlns:a16="http://schemas.microsoft.com/office/drawing/2014/main" id="{B02195D6-4668-4949-8940-FC2F57B12647}"/>
                </a:ext>
              </a:extLst>
            </p:cNvPr>
            <p:cNvGrpSpPr>
              <a:grpSpLocks noChangeAspect="1"/>
            </p:cNvGrpSpPr>
            <p:nvPr>
              <p:custDataLst>
                <p:tags r:id="rId88"/>
              </p:custDataLst>
            </p:nvPr>
          </p:nvGrpSpPr>
          <p:grpSpPr bwMode="gray">
            <a:xfrm>
              <a:off x="7769225" y="2105025"/>
              <a:ext cx="209550" cy="209551"/>
              <a:chOff x="4533" y="183"/>
              <a:chExt cx="144" cy="144"/>
            </a:xfrm>
          </p:grpSpPr>
          <p:sp>
            <p:nvSpPr>
              <p:cNvPr id="164" name="Oval 38">
                <a:extLst>
                  <a:ext uri="{FF2B5EF4-FFF2-40B4-BE49-F238E27FC236}">
                    <a16:creationId xmlns:a16="http://schemas.microsoft.com/office/drawing/2014/main" id="{A64A4B67-409D-4208-906B-DCBE7861669D}"/>
                  </a:ext>
                </a:extLst>
              </p:cNvPr>
              <p:cNvSpPr>
                <a:spLocks noChangeAspect="1" noChangeArrowheads="1"/>
              </p:cNvSpPr>
              <p:nvPr>
                <p:custDataLst>
                  <p:tags r:id="rId101"/>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5" name="Arc 39">
                <a:extLst>
                  <a:ext uri="{FF2B5EF4-FFF2-40B4-BE49-F238E27FC236}">
                    <a16:creationId xmlns:a16="http://schemas.microsoft.com/office/drawing/2014/main" id="{432F22D4-8614-4B11-A7CE-977E19115605}"/>
                  </a:ext>
                </a:extLst>
              </p:cNvPr>
              <p:cNvSpPr>
                <a:spLocks noChangeAspect="1"/>
              </p:cNvSpPr>
              <p:nvPr>
                <p:custDataLst>
                  <p:tags r:id="rId102"/>
                </p:custDataLst>
              </p:nvPr>
            </p:nvSpPr>
            <p:spPr bwMode="gray">
              <a:xfrm>
                <a:off x="4533" y="183"/>
                <a:ext cx="144" cy="144"/>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6" name="MoonLegend2">
              <a:extLst>
                <a:ext uri="{FF2B5EF4-FFF2-40B4-BE49-F238E27FC236}">
                  <a16:creationId xmlns:a16="http://schemas.microsoft.com/office/drawing/2014/main" id="{341E0ABE-78F9-4703-B875-5F848FAA5F64}"/>
                </a:ext>
              </a:extLst>
            </p:cNvPr>
            <p:cNvGrpSpPr>
              <a:grpSpLocks noChangeAspect="1"/>
            </p:cNvGrpSpPr>
            <p:nvPr>
              <p:custDataLst>
                <p:tags r:id="rId89"/>
              </p:custDataLst>
            </p:nvPr>
          </p:nvGrpSpPr>
          <p:grpSpPr bwMode="gray">
            <a:xfrm>
              <a:off x="7769225" y="2379266"/>
              <a:ext cx="209550" cy="209551"/>
              <a:chOff x="1694" y="2044"/>
              <a:chExt cx="160" cy="160"/>
            </a:xfrm>
          </p:grpSpPr>
          <p:sp>
            <p:nvSpPr>
              <p:cNvPr id="162" name="Oval 41">
                <a:extLst>
                  <a:ext uri="{FF2B5EF4-FFF2-40B4-BE49-F238E27FC236}">
                    <a16:creationId xmlns:a16="http://schemas.microsoft.com/office/drawing/2014/main" id="{6D49FD37-5960-4AAE-9CD4-46766F747049}"/>
                  </a:ext>
                </a:extLst>
              </p:cNvPr>
              <p:cNvSpPr>
                <a:spLocks noChangeAspect="1" noChangeArrowheads="1"/>
              </p:cNvSpPr>
              <p:nvPr>
                <p:custDataLst>
                  <p:tags r:id="rId99"/>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3" name="Arc 42">
                <a:extLst>
                  <a:ext uri="{FF2B5EF4-FFF2-40B4-BE49-F238E27FC236}">
                    <a16:creationId xmlns:a16="http://schemas.microsoft.com/office/drawing/2014/main" id="{1DC626E1-90DA-4F0E-BD7D-C9C4F7FA287F}"/>
                  </a:ext>
                </a:extLst>
              </p:cNvPr>
              <p:cNvSpPr>
                <a:spLocks noChangeAspect="1"/>
              </p:cNvSpPr>
              <p:nvPr>
                <p:custDataLst>
                  <p:tags r:id="rId100"/>
                </p:custDataLst>
              </p:nvPr>
            </p:nvSpPr>
            <p:spPr bwMode="gray">
              <a:xfrm>
                <a:off x="1694" y="2044"/>
                <a:ext cx="160" cy="160"/>
              </a:xfrm>
              <a:prstGeom prst="arc">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7" name="MoonLegend4">
              <a:extLst>
                <a:ext uri="{FF2B5EF4-FFF2-40B4-BE49-F238E27FC236}">
                  <a16:creationId xmlns:a16="http://schemas.microsoft.com/office/drawing/2014/main" id="{56F66714-4CF0-4E82-99F4-E4DF559D56CA}"/>
                </a:ext>
              </a:extLst>
            </p:cNvPr>
            <p:cNvGrpSpPr>
              <a:grpSpLocks noChangeAspect="1"/>
            </p:cNvGrpSpPr>
            <p:nvPr>
              <p:custDataLst>
                <p:tags r:id="rId90"/>
              </p:custDataLst>
            </p:nvPr>
          </p:nvGrpSpPr>
          <p:grpSpPr bwMode="gray">
            <a:xfrm>
              <a:off x="7769225" y="2927748"/>
              <a:ext cx="209550" cy="209551"/>
              <a:chOff x="4495" y="1198"/>
              <a:chExt cx="160" cy="160"/>
            </a:xfrm>
          </p:grpSpPr>
          <p:sp>
            <p:nvSpPr>
              <p:cNvPr id="160" name="Oval 47">
                <a:extLst>
                  <a:ext uri="{FF2B5EF4-FFF2-40B4-BE49-F238E27FC236}">
                    <a16:creationId xmlns:a16="http://schemas.microsoft.com/office/drawing/2014/main" id="{283049F2-B359-4AC2-BD07-0016597D24C7}"/>
                  </a:ext>
                </a:extLst>
              </p:cNvPr>
              <p:cNvSpPr>
                <a:spLocks noChangeAspect="1" noChangeArrowheads="1"/>
              </p:cNvSpPr>
              <p:nvPr>
                <p:custDataLst>
                  <p:tags r:id="rId9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1" name="Arc 48">
                <a:extLst>
                  <a:ext uri="{FF2B5EF4-FFF2-40B4-BE49-F238E27FC236}">
                    <a16:creationId xmlns:a16="http://schemas.microsoft.com/office/drawing/2014/main" id="{6E1879E5-F86D-4196-B5E0-0591FC08FF43}"/>
                  </a:ext>
                </a:extLst>
              </p:cNvPr>
              <p:cNvSpPr>
                <a:spLocks noChangeAspect="1"/>
              </p:cNvSpPr>
              <p:nvPr>
                <p:custDataLst>
                  <p:tags r:id="rId98"/>
                </p:custDataLst>
              </p:nvPr>
            </p:nvSpPr>
            <p:spPr bwMode="gray">
              <a:xfrm>
                <a:off x="4495" y="1198"/>
                <a:ext cx="160" cy="160"/>
              </a:xfrm>
              <a:prstGeom prst="arc">
                <a:avLst>
                  <a:gd name="adj1" fmla="val 16200000"/>
                  <a:gd name="adj2" fmla="val 108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12" name="MoonLegend5">
              <a:extLst>
                <a:ext uri="{FF2B5EF4-FFF2-40B4-BE49-F238E27FC236}">
                  <a16:creationId xmlns:a16="http://schemas.microsoft.com/office/drawing/2014/main" id="{3AB58AD0-F400-4E67-A3C4-C3AEC77B7897}"/>
                </a:ext>
              </a:extLst>
            </p:cNvPr>
            <p:cNvGrpSpPr>
              <a:grpSpLocks noChangeAspect="1"/>
            </p:cNvGrpSpPr>
            <p:nvPr>
              <p:custDataLst>
                <p:tags r:id="rId91"/>
              </p:custDataLst>
            </p:nvPr>
          </p:nvGrpSpPr>
          <p:grpSpPr bwMode="gray">
            <a:xfrm>
              <a:off x="7769225" y="3201990"/>
              <a:ext cx="209550" cy="209551"/>
              <a:chOff x="4495" y="1440"/>
              <a:chExt cx="160" cy="160"/>
            </a:xfrm>
          </p:grpSpPr>
          <p:sp>
            <p:nvSpPr>
              <p:cNvPr id="158" name="Oval 50">
                <a:extLst>
                  <a:ext uri="{FF2B5EF4-FFF2-40B4-BE49-F238E27FC236}">
                    <a16:creationId xmlns:a16="http://schemas.microsoft.com/office/drawing/2014/main" id="{7D0BD859-886A-435B-8351-55523200DC87}"/>
                  </a:ext>
                </a:extLst>
              </p:cNvPr>
              <p:cNvSpPr>
                <a:spLocks noChangeAspect="1" noChangeArrowheads="1"/>
              </p:cNvSpPr>
              <p:nvPr>
                <p:custDataLst>
                  <p:tags r:id="rId9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9" name="Oval 51">
                <a:extLst>
                  <a:ext uri="{FF2B5EF4-FFF2-40B4-BE49-F238E27FC236}">
                    <a16:creationId xmlns:a16="http://schemas.microsoft.com/office/drawing/2014/main" id="{F61A0703-EE33-4394-9860-CEDC1CECFDAD}"/>
                  </a:ext>
                </a:extLst>
              </p:cNvPr>
              <p:cNvSpPr>
                <a:spLocks noChangeAspect="1" noChangeArrowheads="1"/>
              </p:cNvSpPr>
              <p:nvPr>
                <p:custDataLst>
                  <p:tags r:id="rId96"/>
                </p:custDataLst>
              </p:nvPr>
            </p:nvSpPr>
            <p:spPr bwMode="gray">
              <a:xfrm>
                <a:off x="4495" y="1440"/>
                <a:ext cx="160" cy="160"/>
              </a:xfrm>
              <a:prstGeom prst="arc">
                <a:avLst>
                  <a:gd name="adj1" fmla="val 16200000"/>
                  <a:gd name="adj2" fmla="val 162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sp>
          <p:nvSpPr>
            <p:cNvPr id="150" name="Legend1">
              <a:extLst>
                <a:ext uri="{FF2B5EF4-FFF2-40B4-BE49-F238E27FC236}">
                  <a16:creationId xmlns:a16="http://schemas.microsoft.com/office/drawing/2014/main" id="{0DB0EFEB-8498-4E58-9711-0647C320BAF1}"/>
                </a:ext>
              </a:extLst>
            </p:cNvPr>
            <p:cNvSpPr>
              <a:spLocks noChangeArrowheads="1"/>
            </p:cNvSpPr>
            <p:nvPr/>
          </p:nvSpPr>
          <p:spPr bwMode="gray">
            <a:xfrm>
              <a:off x="8089900" y="211746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1" name="Legend2">
              <a:extLst>
                <a:ext uri="{FF2B5EF4-FFF2-40B4-BE49-F238E27FC236}">
                  <a16:creationId xmlns:a16="http://schemas.microsoft.com/office/drawing/2014/main" id="{E0E69328-68E8-48A8-BA50-389CF79224B5}"/>
                </a:ext>
              </a:extLst>
            </p:cNvPr>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2" name="Legend3">
              <a:extLst>
                <a:ext uri="{FF2B5EF4-FFF2-40B4-BE49-F238E27FC236}">
                  <a16:creationId xmlns:a16="http://schemas.microsoft.com/office/drawing/2014/main" id="{23FFB7E6-2148-4F7D-8D6B-D7B0328C8AE9}"/>
                </a:ext>
              </a:extLst>
            </p:cNvPr>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3" name="Legend4">
              <a:extLst>
                <a:ext uri="{FF2B5EF4-FFF2-40B4-BE49-F238E27FC236}">
                  <a16:creationId xmlns:a16="http://schemas.microsoft.com/office/drawing/2014/main" id="{2B20045F-AD8B-400F-BC8E-6120D380B904}"/>
                </a:ext>
              </a:extLst>
            </p:cNvPr>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4" name="Legend5">
              <a:extLst>
                <a:ext uri="{FF2B5EF4-FFF2-40B4-BE49-F238E27FC236}">
                  <a16:creationId xmlns:a16="http://schemas.microsoft.com/office/drawing/2014/main" id="{3E11B994-B418-41EF-AED8-4FCB5B085F28}"/>
                </a:ext>
              </a:extLst>
            </p:cNvPr>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nvGrpSpPr>
            <p:cNvPr id="155" name="MoonLegend3">
              <a:extLst>
                <a:ext uri="{FF2B5EF4-FFF2-40B4-BE49-F238E27FC236}">
                  <a16:creationId xmlns:a16="http://schemas.microsoft.com/office/drawing/2014/main" id="{11F36171-C8F9-44BA-82CF-6E783564D2A1}"/>
                </a:ext>
              </a:extLst>
            </p:cNvPr>
            <p:cNvGrpSpPr>
              <a:grpSpLocks noChangeAspect="1"/>
            </p:cNvGrpSpPr>
            <p:nvPr>
              <p:custDataLst>
                <p:tags r:id="rId92"/>
              </p:custDataLst>
            </p:nvPr>
          </p:nvGrpSpPr>
          <p:grpSpPr bwMode="gray">
            <a:xfrm>
              <a:off x="7769225" y="2653507"/>
              <a:ext cx="209550" cy="209551"/>
              <a:chOff x="4495" y="1198"/>
              <a:chExt cx="160" cy="160"/>
            </a:xfrm>
          </p:grpSpPr>
          <p:sp>
            <p:nvSpPr>
              <p:cNvPr id="156" name="Oval 47">
                <a:extLst>
                  <a:ext uri="{FF2B5EF4-FFF2-40B4-BE49-F238E27FC236}">
                    <a16:creationId xmlns:a16="http://schemas.microsoft.com/office/drawing/2014/main" id="{A2408FFE-C82E-472A-892F-C5C0581AFD1E}"/>
                  </a:ext>
                </a:extLst>
              </p:cNvPr>
              <p:cNvSpPr>
                <a:spLocks noChangeAspect="1" noChangeArrowheads="1"/>
              </p:cNvSpPr>
              <p:nvPr>
                <p:custDataLst>
                  <p:tags r:id="rId93"/>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7" name="Arc 48">
                <a:extLst>
                  <a:ext uri="{FF2B5EF4-FFF2-40B4-BE49-F238E27FC236}">
                    <a16:creationId xmlns:a16="http://schemas.microsoft.com/office/drawing/2014/main" id="{0470043B-DF7A-49CE-BEEC-126FE1B402EE}"/>
                  </a:ext>
                </a:extLst>
              </p:cNvPr>
              <p:cNvSpPr>
                <a:spLocks noChangeAspect="1"/>
              </p:cNvSpPr>
              <p:nvPr>
                <p:custDataLst>
                  <p:tags r:id="rId94"/>
                </p:custDataLst>
              </p:nvPr>
            </p:nvSpPr>
            <p:spPr bwMode="gray">
              <a:xfrm>
                <a:off x="4495" y="1198"/>
                <a:ext cx="160" cy="160"/>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grpSp>
        <p:nvGrpSpPr>
          <p:cNvPr id="166" name="Moon" hidden="1">
            <a:extLst>
              <a:ext uri="{FF2B5EF4-FFF2-40B4-BE49-F238E27FC236}">
                <a16:creationId xmlns:a16="http://schemas.microsoft.com/office/drawing/2014/main" id="{730B6F2A-7178-45B9-AC76-832A248C1E92}"/>
              </a:ext>
            </a:extLst>
          </p:cNvPr>
          <p:cNvGrpSpPr/>
          <p:nvPr userDrawn="1">
            <p:custDataLst>
              <p:tags r:id="rId80"/>
            </p:custDataLst>
          </p:nvPr>
        </p:nvGrpSpPr>
        <p:grpSpPr bwMode="gray">
          <a:xfrm>
            <a:off x="11328334" y="2420259"/>
            <a:ext cx="254066" cy="254000"/>
            <a:chOff x="762000" y="1270000"/>
            <a:chExt cx="254000" cy="254000"/>
          </a:xfrm>
        </p:grpSpPr>
        <p:sp>
          <p:nvSpPr>
            <p:cNvPr id="167" name="Oval 166">
              <a:extLst>
                <a:ext uri="{FF2B5EF4-FFF2-40B4-BE49-F238E27FC236}">
                  <a16:creationId xmlns:a16="http://schemas.microsoft.com/office/drawing/2014/main" id="{ADAA1916-FD15-4D18-95EA-300F5F140AD1}"/>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n-lt"/>
              </a:endParaRPr>
            </a:p>
          </p:txBody>
        </p:sp>
        <p:sp>
          <p:nvSpPr>
            <p:cNvPr id="168" name="Arc 167">
              <a:extLst>
                <a:ext uri="{FF2B5EF4-FFF2-40B4-BE49-F238E27FC236}">
                  <a16:creationId xmlns:a16="http://schemas.microsoft.com/office/drawing/2014/main" id="{5BA95C87-C554-4CF6-8F4E-C5DD023FCFFC}"/>
                </a:ext>
              </a:extLst>
            </p:cNvPr>
            <p:cNvSpPr/>
            <p:nvPr/>
          </p:nvSpPr>
          <p:spPr bwMode="gray">
            <a:xfrm>
              <a:off x="762000" y="1270000"/>
              <a:ext cx="254000" cy="254000"/>
            </a:xfrm>
            <a:prstGeom prst="arc">
              <a:avLst/>
            </a:prstGeom>
            <a:solidFill>
              <a:schemeClr val="accent6"/>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mn-lt"/>
              </a:endParaRPr>
            </a:p>
          </p:txBody>
        </p:sp>
      </p:grpSp>
      <p:grpSp>
        <p:nvGrpSpPr>
          <p:cNvPr id="113" name="SplitFlow" hidden="1">
            <a:extLst>
              <a:ext uri="{FF2B5EF4-FFF2-40B4-BE49-F238E27FC236}">
                <a16:creationId xmlns:a16="http://schemas.microsoft.com/office/drawing/2014/main" id="{DAE9ACD0-18BD-405A-8E4D-20D36BDA4FB0}"/>
              </a:ext>
            </a:extLst>
          </p:cNvPr>
          <p:cNvGrpSpPr>
            <a:grpSpLocks/>
          </p:cNvGrpSpPr>
          <p:nvPr userDrawn="1">
            <p:custDataLst>
              <p:tags r:id="rId81"/>
            </p:custDataLst>
          </p:nvPr>
        </p:nvGrpSpPr>
        <p:grpSpPr bwMode="gray">
          <a:xfrm>
            <a:off x="3953713" y="3395577"/>
            <a:ext cx="1829276" cy="914400"/>
            <a:chOff x="1003298" y="1257300"/>
            <a:chExt cx="1828804" cy="914400"/>
          </a:xfrm>
        </p:grpSpPr>
        <p:sp>
          <p:nvSpPr>
            <p:cNvPr id="114" name="Freeform: Shape 113">
              <a:extLst>
                <a:ext uri="{FF2B5EF4-FFF2-40B4-BE49-F238E27FC236}">
                  <a16:creationId xmlns:a16="http://schemas.microsoft.com/office/drawing/2014/main" id="{8DB29E77-7C19-4263-AAD5-BBF0EF0DBE87}"/>
                </a:ext>
              </a:extLst>
            </p:cNvPr>
            <p:cNvSpPr/>
            <p:nvPr>
              <p:custDataLst>
                <p:tags r:id="rId84"/>
              </p:custDataLst>
            </p:nvPr>
          </p:nvSpPr>
          <p:spPr bwMode="gray">
            <a:xfrm>
              <a:off x="1003298" y="1257300"/>
              <a:ext cx="1828804"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1"/>
                <a:gd name="connsiteY0" fmla="*/ 0 h 457200"/>
                <a:gd name="connsiteX1" fmla="*/ 1664209 w 1828801"/>
                <a:gd name="connsiteY1" fmla="*/ 0 h 457200"/>
                <a:gd name="connsiteX2" fmla="*/ 1828801 w 1828801"/>
                <a:gd name="connsiteY2" fmla="*/ 457200 h 457200"/>
                <a:gd name="connsiteX3" fmla="*/ 1 w 1828801"/>
                <a:gd name="connsiteY3" fmla="*/ 457200 h 457200"/>
                <a:gd name="connsiteX0" fmla="*/ 0 w 1828801"/>
                <a:gd name="connsiteY0" fmla="*/ 0 h 457200"/>
                <a:gd name="connsiteX1" fmla="*/ 1697128 w 1828801"/>
                <a:gd name="connsiteY1" fmla="*/ 0 h 457200"/>
                <a:gd name="connsiteX2" fmla="*/ 1828801 w 1828801"/>
                <a:gd name="connsiteY2" fmla="*/ 457200 h 457200"/>
                <a:gd name="connsiteX3" fmla="*/ 1 w 1828801"/>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64592 w 1828802"/>
                <a:gd name="connsiteY3" fmla="*/ 457200 h 457200"/>
                <a:gd name="connsiteX0" fmla="*/ 0 w 1828803"/>
                <a:gd name="connsiteY0" fmla="*/ 0 h 457200"/>
                <a:gd name="connsiteX1" fmla="*/ 1664211 w 1828803"/>
                <a:gd name="connsiteY1" fmla="*/ 0 h 457200"/>
                <a:gd name="connsiteX2" fmla="*/ 1828803 w 1828803"/>
                <a:gd name="connsiteY2" fmla="*/ 457200 h 457200"/>
                <a:gd name="connsiteX3" fmla="*/ 164593 w 1828803"/>
                <a:gd name="connsiteY3" fmla="*/ 457200 h 457200"/>
                <a:gd name="connsiteX0" fmla="*/ 0 w 1828803"/>
                <a:gd name="connsiteY0" fmla="*/ 0 h 457200"/>
                <a:gd name="connsiteX1" fmla="*/ 1664212 w 1828803"/>
                <a:gd name="connsiteY1" fmla="*/ 0 h 457200"/>
                <a:gd name="connsiteX2" fmla="*/ 1828803 w 1828803"/>
                <a:gd name="connsiteY2" fmla="*/ 457200 h 457200"/>
                <a:gd name="connsiteX3" fmla="*/ 164593 w 1828803"/>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164593 w 1828804"/>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0 w 1828804"/>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4" h="457200">
                  <a:moveTo>
                    <a:pt x="0" y="0"/>
                  </a:moveTo>
                  <a:lnTo>
                    <a:pt x="1664212" y="0"/>
                  </a:lnTo>
                  <a:lnTo>
                    <a:pt x="1828804"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5" name="TextBox 114">
              <a:extLst>
                <a:ext uri="{FF2B5EF4-FFF2-40B4-BE49-F238E27FC236}">
                  <a16:creationId xmlns:a16="http://schemas.microsoft.com/office/drawing/2014/main" id="{623038F2-F472-4A50-A4EB-459EB326C243}"/>
                </a:ext>
              </a:extLst>
            </p:cNvPr>
            <p:cNvSpPr txBox="1"/>
            <p:nvPr>
              <p:custDataLst>
                <p:tags r:id="rId85"/>
              </p:custDataLst>
            </p:nvPr>
          </p:nvSpPr>
          <p:spPr bwMode="gray">
            <a:xfrm>
              <a:off x="1066798" y="13144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sp>
          <p:nvSpPr>
            <p:cNvPr id="116" name="Freeform: Shape 115">
              <a:extLst>
                <a:ext uri="{FF2B5EF4-FFF2-40B4-BE49-F238E27FC236}">
                  <a16:creationId xmlns:a16="http://schemas.microsoft.com/office/drawing/2014/main" id="{4D42C1EB-4340-443C-B175-AE72B466F2B6}"/>
                </a:ext>
              </a:extLst>
            </p:cNvPr>
            <p:cNvSpPr/>
            <p:nvPr>
              <p:custDataLst>
                <p:tags r:id="rId86"/>
              </p:custDataLst>
            </p:nvPr>
          </p:nvSpPr>
          <p:spPr bwMode="gray">
            <a:xfrm>
              <a:off x="1003298" y="1714500"/>
              <a:ext cx="1828803"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1828801 w 1828801"/>
                <a:gd name="connsiteY0" fmla="*/ 0 h 457200"/>
                <a:gd name="connsiteX1" fmla="*/ 832104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31674 w 1828801"/>
                <a:gd name="connsiteY3" fmla="*/ 0 h 457200"/>
                <a:gd name="connsiteX0" fmla="*/ 1828802 w 1828802"/>
                <a:gd name="connsiteY0" fmla="*/ 0 h 457200"/>
                <a:gd name="connsiteX1" fmla="*/ 1697127 w 1828802"/>
                <a:gd name="connsiteY1" fmla="*/ 457200 h 457200"/>
                <a:gd name="connsiteX2" fmla="*/ 0 w 1828802"/>
                <a:gd name="connsiteY2" fmla="*/ 457200 h 457200"/>
                <a:gd name="connsiteX3" fmla="*/ 131674 w 1828802"/>
                <a:gd name="connsiteY3" fmla="*/ 0 h 457200"/>
                <a:gd name="connsiteX0" fmla="*/ 1828802 w 1828802"/>
                <a:gd name="connsiteY0" fmla="*/ 0 h 457200"/>
                <a:gd name="connsiteX1" fmla="*/ 1664209 w 1828802"/>
                <a:gd name="connsiteY1" fmla="*/ 457200 h 457200"/>
                <a:gd name="connsiteX2" fmla="*/ 0 w 1828802"/>
                <a:gd name="connsiteY2" fmla="*/ 457200 h 457200"/>
                <a:gd name="connsiteX3" fmla="*/ 131674 w 1828802"/>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31675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0 w 1828803"/>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3" h="457200">
                  <a:moveTo>
                    <a:pt x="1828803" y="0"/>
                  </a:moveTo>
                  <a:lnTo>
                    <a:pt x="1664211"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7" name="TextBox 116">
              <a:extLst>
                <a:ext uri="{FF2B5EF4-FFF2-40B4-BE49-F238E27FC236}">
                  <a16:creationId xmlns:a16="http://schemas.microsoft.com/office/drawing/2014/main" id="{10FFA3A3-8584-4767-9C27-09B55BC5F098}"/>
                </a:ext>
              </a:extLst>
            </p:cNvPr>
            <p:cNvSpPr txBox="1"/>
            <p:nvPr>
              <p:custDataLst>
                <p:tags r:id="rId87"/>
              </p:custDataLst>
            </p:nvPr>
          </p:nvSpPr>
          <p:spPr bwMode="gray">
            <a:xfrm>
              <a:off x="1066798" y="17716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grpSp>
      <p:sp>
        <p:nvSpPr>
          <p:cNvPr id="127" name="TitleTrackerAlpha" hidden="1">
            <a:extLst>
              <a:ext uri="{FF2B5EF4-FFF2-40B4-BE49-F238E27FC236}">
                <a16:creationId xmlns:a16="http://schemas.microsoft.com/office/drawing/2014/main" id="{B72A42AF-2681-44AB-A425-142238932AFD}"/>
              </a:ext>
            </a:extLst>
          </p:cNvPr>
          <p:cNvSpPr>
            <a:spLocks noChangeAspect="1"/>
          </p:cNvSpPr>
          <p:nvPr userDrawn="1">
            <p:custDataLst>
              <p:tags r:id="rId82"/>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A</a:t>
            </a:r>
          </a:p>
        </p:txBody>
      </p:sp>
      <p:sp>
        <p:nvSpPr>
          <p:cNvPr id="128" name="TitleTrackerNum" hidden="1">
            <a:extLst>
              <a:ext uri="{FF2B5EF4-FFF2-40B4-BE49-F238E27FC236}">
                <a16:creationId xmlns:a16="http://schemas.microsoft.com/office/drawing/2014/main" id="{4DD5D332-53AB-4EC7-9B8D-67F9435E4C04}"/>
              </a:ext>
            </a:extLst>
          </p:cNvPr>
          <p:cNvSpPr>
            <a:spLocks noChangeAspect="1"/>
          </p:cNvSpPr>
          <p:nvPr userDrawn="1">
            <p:custDataLst>
              <p:tags r:id="rId83"/>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1</a:t>
            </a:r>
          </a:p>
        </p:txBody>
      </p:sp>
    </p:spTree>
    <p:extLst>
      <p:ext uri="{BB962C8B-B14F-4D97-AF65-F5344CB8AC3E}">
        <p14:creationId xmlns:p14="http://schemas.microsoft.com/office/powerpoint/2010/main" val="804334021"/>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 id="2147484147" r:id="rId16"/>
    <p:sldLayoutId id="2147484148" r:id="rId17"/>
    <p:sldLayoutId id="2147484149" r:id="rId18"/>
    <p:sldLayoutId id="2147484150" r:id="rId19"/>
    <p:sldLayoutId id="2147484151" r:id="rId20"/>
    <p:sldLayoutId id="2147484152" r:id="rId21"/>
    <p:sldLayoutId id="2147484153" r:id="rId22"/>
    <p:sldLayoutId id="2147484154" r:id="rId23"/>
    <p:sldLayoutId id="2147484155" r:id="rId24"/>
    <p:sldLayoutId id="2147484156" r:id="rId25"/>
    <p:sldLayoutId id="2147484157" r:id="rId26"/>
    <p:sldLayoutId id="2147484158" r:id="rId27"/>
    <p:sldLayoutId id="2147484159" r:id="rId28"/>
    <p:sldLayoutId id="2147484160" r:id="rId29"/>
    <p:sldLayoutId id="2147484161" r:id="rId30"/>
    <p:sldLayoutId id="2147484162" r:id="rId31"/>
    <p:sldLayoutId id="2147484163" r:id="rId32"/>
    <p:sldLayoutId id="2147484164" r:id="rId33"/>
    <p:sldLayoutId id="2147484165" r:id="rId34"/>
    <p:sldLayoutId id="2147484166" r:id="rId35"/>
    <p:sldLayoutId id="2147484167" r:id="rId36"/>
    <p:sldLayoutId id="2147484168" r:id="rId37"/>
    <p:sldLayoutId id="2147484169" r:id="rId38"/>
    <p:sldLayoutId id="2147484170" r:id="rId39"/>
    <p:sldLayoutId id="2147484171" r:id="rId40"/>
    <p:sldLayoutId id="2147484172" r:id="rId41"/>
    <p:sldLayoutId id="2147484173" r:id="rId42"/>
    <p:sldLayoutId id="2147484174" r:id="rId43"/>
    <p:sldLayoutId id="2147484175" r:id="rId44"/>
    <p:sldLayoutId id="2147484176" r:id="rId45"/>
    <p:sldLayoutId id="2147484177" r:id="rId46"/>
    <p:sldLayoutId id="2147484178" r:id="rId47"/>
    <p:sldLayoutId id="2147484179" r:id="rId48"/>
    <p:sldLayoutId id="2147484180" r:id="rId49"/>
    <p:sldLayoutId id="2147484181" r:id="rId50"/>
    <p:sldLayoutId id="2147484182" r:id="rId51"/>
    <p:sldLayoutId id="2147484183" r:id="rId52"/>
    <p:sldLayoutId id="2147484184" r:id="rId53"/>
    <p:sldLayoutId id="2147484185" r:id="rId54"/>
    <p:sldLayoutId id="2147484186" r:id="rId55"/>
    <p:sldLayoutId id="2147484187" r:id="rId56"/>
    <p:sldLayoutId id="2147484188" r:id="rId57"/>
    <p:sldLayoutId id="2147484189" r:id="rId58"/>
    <p:sldLayoutId id="2147484190" r:id="rId59"/>
    <p:sldLayoutId id="2147484191" r:id="rId60"/>
    <p:sldLayoutId id="2147484192" r:id="rId61"/>
    <p:sldLayoutId id="2147484193" r:id="rId62"/>
    <p:sldLayoutId id="2147484194" r:id="rId63"/>
    <p:sldLayoutId id="2147484195" r:id="rId64"/>
    <p:sldLayoutId id="2147484196" r:id="rId65"/>
    <p:sldLayoutId id="2147484197" r:id="rId66"/>
    <p:sldLayoutId id="2147484198" r:id="rId67"/>
    <p:sldLayoutId id="2147484199" r:id="rId68"/>
    <p:sldLayoutId id="2147484200" r:id="rId69"/>
    <p:sldLayoutId id="2147484201" r:id="rId70"/>
  </p:sldLayoutIdLst>
  <p:hf sldNum="0" hdr="0" ftr="0" dt="0"/>
  <p:txStyles>
    <p:titleStyle>
      <a:lvl1pPr algn="l" defTabSz="913572" rtl="0" eaLnBrk="1" fontAlgn="base" hangingPunct="1">
        <a:lnSpc>
          <a:spcPct val="100000"/>
        </a:lnSpc>
        <a:spcBef>
          <a:spcPct val="0"/>
        </a:spcBef>
        <a:spcAft>
          <a:spcPct val="0"/>
        </a:spcAft>
        <a:buClr>
          <a:schemeClr val="tx2"/>
        </a:buClr>
        <a:tabLst>
          <a:tab pos="361950" algn="l"/>
        </a:tabLst>
        <a:defRPr lang="x-none" sz="2400" b="1" baseline="0">
          <a:solidFill>
            <a:srgbClr val="1E7FB8"/>
          </a:solidFill>
          <a:latin typeface="+mj-lt"/>
          <a:ea typeface="+mj-ea"/>
          <a:cs typeface="+mj-cs"/>
        </a:defRPr>
      </a:lvl1pPr>
      <a:lvl2pPr algn="l" defTabSz="913572" rtl="0" eaLnBrk="1" fontAlgn="base" hangingPunct="1">
        <a:spcBef>
          <a:spcPct val="0"/>
        </a:spcBef>
        <a:spcAft>
          <a:spcPct val="0"/>
        </a:spcAft>
        <a:defRPr lang="x-none" sz="1939" b="1">
          <a:solidFill>
            <a:schemeClr val="tx2"/>
          </a:solidFill>
          <a:latin typeface="Arial" charset="0"/>
        </a:defRPr>
      </a:lvl2pPr>
      <a:lvl3pPr algn="l" defTabSz="913572" rtl="0" eaLnBrk="1" fontAlgn="base" hangingPunct="1">
        <a:spcBef>
          <a:spcPct val="0"/>
        </a:spcBef>
        <a:spcAft>
          <a:spcPct val="0"/>
        </a:spcAft>
        <a:defRPr lang="x-none" sz="1939" b="1">
          <a:solidFill>
            <a:schemeClr val="tx2"/>
          </a:solidFill>
          <a:latin typeface="Arial" charset="0"/>
        </a:defRPr>
      </a:lvl3pPr>
      <a:lvl4pPr algn="l" defTabSz="913572" rtl="0" eaLnBrk="1" fontAlgn="base" hangingPunct="1">
        <a:spcBef>
          <a:spcPct val="0"/>
        </a:spcBef>
        <a:spcAft>
          <a:spcPct val="0"/>
        </a:spcAft>
        <a:defRPr lang="x-none" sz="1939" b="1">
          <a:solidFill>
            <a:schemeClr val="tx2"/>
          </a:solidFill>
          <a:latin typeface="Arial" charset="0"/>
        </a:defRPr>
      </a:lvl4pPr>
      <a:lvl5pPr algn="l" defTabSz="913572" rtl="0" eaLnBrk="1" fontAlgn="base" hangingPunct="1">
        <a:spcBef>
          <a:spcPct val="0"/>
        </a:spcBef>
        <a:spcAft>
          <a:spcPct val="0"/>
        </a:spcAft>
        <a:defRPr lang="x-none" sz="1939" b="1">
          <a:solidFill>
            <a:schemeClr val="tx2"/>
          </a:solidFill>
          <a:latin typeface="Arial" charset="0"/>
        </a:defRPr>
      </a:lvl5pPr>
      <a:lvl6pPr marL="466505" algn="l" defTabSz="913572" rtl="0" eaLnBrk="1" fontAlgn="base" hangingPunct="1">
        <a:spcBef>
          <a:spcPct val="0"/>
        </a:spcBef>
        <a:spcAft>
          <a:spcPct val="0"/>
        </a:spcAft>
        <a:defRPr lang="x-none" sz="1939" b="1">
          <a:solidFill>
            <a:schemeClr val="tx2"/>
          </a:solidFill>
          <a:latin typeface="Arial" charset="0"/>
        </a:defRPr>
      </a:lvl6pPr>
      <a:lvl7pPr marL="933009" algn="l" defTabSz="913572" rtl="0" eaLnBrk="1" fontAlgn="base" hangingPunct="1">
        <a:spcBef>
          <a:spcPct val="0"/>
        </a:spcBef>
        <a:spcAft>
          <a:spcPct val="0"/>
        </a:spcAft>
        <a:defRPr lang="x-none" sz="1939" b="1">
          <a:solidFill>
            <a:schemeClr val="tx2"/>
          </a:solidFill>
          <a:latin typeface="Arial" charset="0"/>
        </a:defRPr>
      </a:lvl7pPr>
      <a:lvl8pPr marL="1399513" algn="l" defTabSz="913572" rtl="0" eaLnBrk="1" fontAlgn="base" hangingPunct="1">
        <a:spcBef>
          <a:spcPct val="0"/>
        </a:spcBef>
        <a:spcAft>
          <a:spcPct val="0"/>
        </a:spcAft>
        <a:defRPr lang="x-none" sz="1939" b="1">
          <a:solidFill>
            <a:schemeClr val="tx2"/>
          </a:solidFill>
          <a:latin typeface="Arial" charset="0"/>
        </a:defRPr>
      </a:lvl8pPr>
      <a:lvl9pPr marL="1866019" algn="l" defTabSz="913572" rtl="0" eaLnBrk="1" fontAlgn="base" hangingPunct="1">
        <a:spcBef>
          <a:spcPct val="0"/>
        </a:spcBef>
        <a:spcAft>
          <a:spcPct val="0"/>
        </a:spcAft>
        <a:defRPr lang="x-none" sz="1939" b="1">
          <a:solidFill>
            <a:schemeClr val="tx2"/>
          </a:solidFill>
          <a:latin typeface="Arial" charset="0"/>
        </a:defRPr>
      </a:lvl9pPr>
    </p:titleStyle>
    <p:bodyStyle>
      <a:lvl1pPr marL="0" indent="0" algn="l" defTabSz="913572" rtl="0" eaLnBrk="1" fontAlgn="base" hangingPunct="1">
        <a:spcBef>
          <a:spcPct val="0"/>
        </a:spcBef>
        <a:spcAft>
          <a:spcPct val="0"/>
        </a:spcAft>
        <a:buClr>
          <a:schemeClr val="tx1"/>
        </a:buClr>
        <a:buSzPct val="100000"/>
        <a:buFontTx/>
        <a:buNone/>
        <a:defRPr lang="x-none" sz="1600" baseline="0">
          <a:solidFill>
            <a:srgbClr val="575757"/>
          </a:solidFill>
          <a:latin typeface="+mn-lt"/>
          <a:ea typeface="+mn-ea"/>
          <a:cs typeface="+mn-cs"/>
        </a:defRPr>
      </a:lvl1pPr>
      <a:lvl2pPr marL="180000" indent="-180054"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2pPr>
      <a:lvl3pPr marL="36576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3pPr>
      <a:lvl4pPr marL="54864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4pPr>
      <a:lvl5pPr marL="73152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rgbClr val="575757"/>
          </a:solidFill>
          <a:latin typeface="+mn-lt"/>
        </a:defRPr>
      </a:lvl5pPr>
      <a:lvl6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3009" rtl="0" eaLnBrk="1" latinLnBrk="0" hangingPunct="1">
        <a:defRPr lang="x-none" sz="1838" kern="1200">
          <a:solidFill>
            <a:schemeClr val="tx1"/>
          </a:solidFill>
          <a:latin typeface="+mn-lt"/>
          <a:ea typeface="+mn-ea"/>
          <a:cs typeface="+mn-cs"/>
        </a:defRPr>
      </a:lvl1pPr>
      <a:lvl2pPr marL="466505" algn="l" defTabSz="933009" rtl="0" eaLnBrk="1" latinLnBrk="0" hangingPunct="1">
        <a:defRPr lang="x-none" sz="1838" kern="1200">
          <a:solidFill>
            <a:schemeClr val="tx1"/>
          </a:solidFill>
          <a:latin typeface="+mn-lt"/>
          <a:ea typeface="+mn-ea"/>
          <a:cs typeface="+mn-cs"/>
        </a:defRPr>
      </a:lvl2pPr>
      <a:lvl3pPr marL="933009" algn="l" defTabSz="933009" rtl="0" eaLnBrk="1" latinLnBrk="0" hangingPunct="1">
        <a:defRPr lang="x-none" sz="1838" kern="1200">
          <a:solidFill>
            <a:schemeClr val="tx1"/>
          </a:solidFill>
          <a:latin typeface="+mn-lt"/>
          <a:ea typeface="+mn-ea"/>
          <a:cs typeface="+mn-cs"/>
        </a:defRPr>
      </a:lvl3pPr>
      <a:lvl4pPr marL="1399513" algn="l" defTabSz="933009" rtl="0" eaLnBrk="1" latinLnBrk="0" hangingPunct="1">
        <a:defRPr lang="x-none" sz="1838" kern="1200">
          <a:solidFill>
            <a:schemeClr val="tx1"/>
          </a:solidFill>
          <a:latin typeface="+mn-lt"/>
          <a:ea typeface="+mn-ea"/>
          <a:cs typeface="+mn-cs"/>
        </a:defRPr>
      </a:lvl4pPr>
      <a:lvl5pPr marL="1866019" algn="l" defTabSz="933009" rtl="0" eaLnBrk="1" latinLnBrk="0" hangingPunct="1">
        <a:defRPr lang="x-none" sz="1838" kern="1200">
          <a:solidFill>
            <a:schemeClr val="tx1"/>
          </a:solidFill>
          <a:latin typeface="+mn-lt"/>
          <a:ea typeface="+mn-ea"/>
          <a:cs typeface="+mn-cs"/>
        </a:defRPr>
      </a:lvl5pPr>
      <a:lvl6pPr marL="2332524" algn="l" defTabSz="933009" rtl="0" eaLnBrk="1" latinLnBrk="0" hangingPunct="1">
        <a:defRPr lang="x-none" sz="1838" kern="1200">
          <a:solidFill>
            <a:schemeClr val="tx1"/>
          </a:solidFill>
          <a:latin typeface="+mn-lt"/>
          <a:ea typeface="+mn-ea"/>
          <a:cs typeface="+mn-cs"/>
        </a:defRPr>
      </a:lvl6pPr>
      <a:lvl7pPr marL="2799026" algn="l" defTabSz="933009" rtl="0" eaLnBrk="1" latinLnBrk="0" hangingPunct="1">
        <a:defRPr lang="x-none" sz="1838" kern="1200">
          <a:solidFill>
            <a:schemeClr val="tx1"/>
          </a:solidFill>
          <a:latin typeface="+mn-lt"/>
          <a:ea typeface="+mn-ea"/>
          <a:cs typeface="+mn-cs"/>
        </a:defRPr>
      </a:lvl7pPr>
      <a:lvl8pPr marL="3265531" algn="l" defTabSz="933009" rtl="0" eaLnBrk="1" latinLnBrk="0" hangingPunct="1">
        <a:defRPr lang="x-none" sz="1838" kern="1200">
          <a:solidFill>
            <a:schemeClr val="tx1"/>
          </a:solidFill>
          <a:latin typeface="+mn-lt"/>
          <a:ea typeface="+mn-ea"/>
          <a:cs typeface="+mn-cs"/>
        </a:defRPr>
      </a:lvl8pPr>
      <a:lvl9pPr marL="3732035" algn="l" defTabSz="933009" rtl="0" eaLnBrk="1" latinLnBrk="0" hangingPunct="1">
        <a:defRPr lang="x-none"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56">
          <p15:clr>
            <a:srgbClr val="F26B43"/>
          </p15:clr>
        </p15:guide>
        <p15:guide id="2" pos="2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83514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5"/>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9" name="Object 8"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2004032" y="161925"/>
            <a:ext cx="9627217" cy="83185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562709" y="1508125"/>
            <a:ext cx="11068539"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mtClean="0">
                <a:solidFill>
                  <a:srgbClr val="5A2259"/>
                </a:solidFill>
              </a:rPr>
              <a:pPr>
                <a:defRPr/>
              </a:pPr>
              <a:t>‹#›</a:t>
            </a:fld>
            <a:endParaRPr lang="en-US">
              <a:solidFill>
                <a:srgbClr val="5A2259"/>
              </a:solidFill>
            </a:endParaRPr>
          </a:p>
        </p:txBody>
      </p:sp>
    </p:spTree>
    <p:extLst>
      <p:ext uri="{BB962C8B-B14F-4D97-AF65-F5344CB8AC3E}">
        <p14:creationId xmlns:p14="http://schemas.microsoft.com/office/powerpoint/2010/main" val="148866406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Lst>
  <p:hf hdr="0" ftr="0" dt="0"/>
  <p:txStyles>
    <p:titleStyle>
      <a:lvl1pPr algn="l" rtl="0" eaLnBrk="1" fontAlgn="base" hangingPunct="1">
        <a:spcBef>
          <a:spcPct val="0"/>
        </a:spcBef>
        <a:spcAft>
          <a:spcPct val="0"/>
        </a:spcAft>
        <a:defRPr sz="2400" b="1" kern="1200">
          <a:solidFill>
            <a:schemeClr val="accent6"/>
          </a:solidFill>
          <a:latin typeface="Franklin Gothic Medium"/>
          <a:ea typeface="+mj-ea"/>
          <a:cs typeface="Franklin Gothic Medium"/>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600" b="1" kern="1200">
          <a:solidFill>
            <a:schemeClr val="accent6"/>
          </a:solidFill>
          <a:latin typeface="+mn-lt"/>
          <a:ea typeface="+mn-ea"/>
          <a:cs typeface="+mn-cs"/>
        </a:defRPr>
      </a:lvl1pPr>
      <a:lvl2pPr marL="457200" indent="-228600" algn="l" rtl="0" eaLnBrk="1" fontAlgn="base" hangingPunct="1">
        <a:spcBef>
          <a:spcPct val="20000"/>
        </a:spcBef>
        <a:spcAft>
          <a:spcPct val="0"/>
        </a:spcAft>
        <a:buClr>
          <a:schemeClr val="tx2"/>
        </a:buClr>
        <a:buFont typeface="Wingdings" panose="05000000000000000000" pitchFamily="2" charset="2"/>
        <a:buChar char=""/>
        <a:defRPr sz="1600" kern="1200">
          <a:solidFill>
            <a:schemeClr val="tx1"/>
          </a:solidFill>
          <a:latin typeface="+mn-lt"/>
          <a:ea typeface="+mn-ea"/>
          <a:cs typeface="+mn-cs"/>
        </a:defRPr>
      </a:lvl2pPr>
      <a:lvl3pPr marL="914400" indent="-228600" algn="l" rtl="0" eaLnBrk="1" fontAlgn="base" hangingPunct="1">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1" fontAlgn="base" hangingPunct="1">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1" fontAlgn="base" hangingPunct="1">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7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4" name="Text Placeholder 3"/>
          <p:cNvSpPr>
            <a:spLocks noGrp="1"/>
          </p:cNvSpPr>
          <p:nvPr>
            <p:ph type="body" idx="1"/>
          </p:nvPr>
        </p:nvSpPr>
        <p:spPr>
          <a:xfrm>
            <a:off x="647700" y="1825625"/>
            <a:ext cx="10901172"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630000" y="622800"/>
            <a:ext cx="10933350" cy="6647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fontAlgn="base">
              <a:lnSpc>
                <a:spcPct val="100000"/>
              </a:lnSpc>
              <a:spcAft>
                <a:spcPct val="0"/>
              </a:spcAft>
              <a:buClrTx/>
              <a:buSzTx/>
              <a:buFontTx/>
              <a:tabLst/>
            </a:pPr>
            <a:r>
              <a:rPr lang="en-US"/>
              <a:t>Click to add title</a:t>
            </a:r>
          </a:p>
        </p:txBody>
      </p:sp>
    </p:spTree>
    <p:extLst>
      <p:ext uri="{BB962C8B-B14F-4D97-AF65-F5344CB8AC3E}">
        <p14:creationId xmlns:p14="http://schemas.microsoft.com/office/powerpoint/2010/main" val="207602754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 id="214748383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kumimoji="0" lang="en-US" sz="2400" b="0" i="0" u="none" strike="noStrike" kern="1200" cap="none" spc="0" normalizeH="0" baseline="0" dirty="0">
          <a:ln>
            <a:noFill/>
          </a:ln>
          <a:solidFill>
            <a:srgbClr val="5A2259"/>
          </a:solidFill>
          <a:effectLst/>
          <a:uLnTx/>
          <a:uFillTx/>
          <a:latin typeface="Franklin Gothic Medium"/>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171450" indent="-17145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2pPr>
      <a:lvl3pPr marL="342900" indent="-16510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accent6"/>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accent6"/>
          </a:solidFill>
          <a:latin typeface="+mn-lt"/>
          <a:ea typeface="+mn-ea"/>
          <a:cs typeface="+mn-cs"/>
          <a:sym typeface="+mn-lt"/>
        </a:defRPr>
      </a:lvl5pPr>
      <a:lvl6pPr marL="174625" indent="-174625" algn="l" defTabSz="914400" rtl="0" eaLnBrk="1" latinLnBrk="0" hangingPunct="1">
        <a:lnSpc>
          <a:spcPct val="90000"/>
        </a:lnSpc>
        <a:spcBef>
          <a:spcPts val="0"/>
        </a:spcBef>
        <a:spcAft>
          <a:spcPts val="600"/>
        </a:spcAft>
        <a:buClr>
          <a:schemeClr val="tx2"/>
        </a:buClr>
        <a:buFont typeface="Wingdings" panose="05000000000000000000" pitchFamily="2" charset="2"/>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accent6"/>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accent6"/>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accent6"/>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408">
          <p15:clr>
            <a:srgbClr val="F26B43"/>
          </p15:clr>
        </p15:guide>
        <p15:guide id="3" pos="7275">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2" name="Object 1" hidden="1"/>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7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a:solidFill>
                <a:srgbClr val="FFFFFF"/>
              </a:solidFill>
              <a:latin typeface="Franklin Gothic Medium" panose="020B0603020102020204" pitchFamily="34" charset="0"/>
              <a:sym typeface="Franklin Gothic Medium" panose="020B06030201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BCE143C8-B46C-BB46-9206-CB47779966D6}" type="datetime1">
              <a:rPr lang="en-IN" smtClean="0">
                <a:solidFill>
                  <a:srgbClr val="FFFFFF">
                    <a:lumMod val="50000"/>
                  </a:srgbClr>
                </a:solidFill>
              </a:rPr>
              <a:pPr/>
              <a:t>14-03-2024</a:t>
            </a:fld>
            <a:endParaRPr lang="en-US">
              <a:solidFill>
                <a:srgbClr val="FFFFFF">
                  <a:lumMod val="50000"/>
                </a:srgbClr>
              </a:solidFill>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mn-lt"/>
              </a:rPr>
              <a:pPr algn="r">
                <a:defRPr/>
              </a:pPr>
              <a:t>‹#›</a:t>
            </a:fld>
            <a:endParaRPr lang="en-US" sz="1000">
              <a:solidFill>
                <a:srgbClr val="FFFFFF">
                  <a:lumMod val="50000"/>
                </a:srgbClr>
              </a:solidFill>
              <a:sym typeface="+mn-lt"/>
            </a:endParaRPr>
          </a:p>
        </p:txBody>
      </p:sp>
      <p:sp>
        <p:nvSpPr>
          <p:cNvPr id="4" name="Text Placeholder 3"/>
          <p:cNvSpPr>
            <a:spLocks noGrp="1"/>
          </p:cNvSpPr>
          <p:nvPr>
            <p:ph type="body" idx="1"/>
          </p:nvPr>
        </p:nvSpPr>
        <p:spPr>
          <a:xfrm>
            <a:off x="647700" y="1825625"/>
            <a:ext cx="10901172"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630000" y="622800"/>
            <a:ext cx="10933350" cy="6647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fontAlgn="base">
              <a:lnSpc>
                <a:spcPct val="100000"/>
              </a:lnSpc>
              <a:spcAft>
                <a:spcPct val="0"/>
              </a:spcAft>
              <a:buClrTx/>
              <a:buSzTx/>
              <a:buFontTx/>
              <a:tabLst/>
            </a:pPr>
            <a:r>
              <a:rPr lang="en-US"/>
              <a:t>Click to add title</a:t>
            </a:r>
          </a:p>
        </p:txBody>
      </p:sp>
    </p:spTree>
    <p:extLst>
      <p:ext uri="{BB962C8B-B14F-4D97-AF65-F5344CB8AC3E}">
        <p14:creationId xmlns:p14="http://schemas.microsoft.com/office/powerpoint/2010/main" val="52103588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kumimoji="0" lang="en-US" sz="2400" b="0" i="0" u="none" strike="noStrike" kern="1200" cap="none" spc="0" normalizeH="0" baseline="0" dirty="0">
          <a:ln>
            <a:noFill/>
          </a:ln>
          <a:solidFill>
            <a:srgbClr val="5A2259"/>
          </a:solidFill>
          <a:effectLst/>
          <a:uLnTx/>
          <a:uFillTx/>
          <a:latin typeface="Franklin Gothic Medium"/>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171450" indent="-17145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342900" indent="-1651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accent6"/>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accent6"/>
          </a:solidFill>
          <a:latin typeface="+mn-lt"/>
          <a:ea typeface="+mn-ea"/>
          <a:cs typeface="+mn-cs"/>
          <a:sym typeface="+mn-lt"/>
        </a:defRPr>
      </a:lvl5pPr>
      <a:lvl6pPr marL="174625" indent="-174625" algn="l" defTabSz="914400" rtl="0" eaLnBrk="1" latinLnBrk="0" hangingPunct="1">
        <a:lnSpc>
          <a:spcPct val="90000"/>
        </a:lnSpc>
        <a:spcBef>
          <a:spcPts val="0"/>
        </a:spcBef>
        <a:spcAft>
          <a:spcPts val="600"/>
        </a:spcAft>
        <a:buClr>
          <a:schemeClr val="tx2"/>
        </a:buClr>
        <a:buSzPct val="106000"/>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accent6"/>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accent6"/>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accent6"/>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408">
          <p15:clr>
            <a:srgbClr val="F26B43"/>
          </p15:clr>
        </p15:guide>
        <p15:guide id="3" pos="7275">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6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0" i="0" baseline="0">
              <a:solidFill>
                <a:srgbClr val="FFFFFF"/>
              </a:solidFill>
              <a:latin typeface="Franklin Gothic Medium" panose="020B0603020102020204" pitchFamily="34" charset="0"/>
              <a:ea typeface="+mj-ea"/>
              <a:cs typeface="+mj-cs"/>
              <a:sym typeface="Franklin Gothic Medium" panose="020B06030201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fld id="{F7C32F24-8062-4E40-8E62-B6AE5565B2DD}" type="datetimeFigureOut">
              <a:rPr lang="en-US" smtClean="0"/>
              <a:t>3/14/2024</a:t>
            </a:fld>
            <a:endParaRPr lang="en-US"/>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4" name="Text Placeholder 3"/>
          <p:cNvSpPr>
            <a:spLocks noGrp="1"/>
          </p:cNvSpPr>
          <p:nvPr>
            <p:ph type="body" idx="1"/>
          </p:nvPr>
        </p:nvSpPr>
        <p:spPr>
          <a:xfrm>
            <a:off x="647700" y="1825625"/>
            <a:ext cx="10901172"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630000" y="622800"/>
            <a:ext cx="10933350" cy="6647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fontAlgn="base">
              <a:lnSpc>
                <a:spcPct val="100000"/>
              </a:lnSpc>
              <a:spcAft>
                <a:spcPct val="0"/>
              </a:spcAft>
              <a:buClrTx/>
              <a:buSzTx/>
              <a:buFontTx/>
              <a:tabLst/>
            </a:pPr>
            <a:r>
              <a:rPr lang="en-US"/>
              <a:t>Click to add title</a:t>
            </a:r>
          </a:p>
        </p:txBody>
      </p:sp>
    </p:spTree>
    <p:extLst>
      <p:ext uri="{BB962C8B-B14F-4D97-AF65-F5344CB8AC3E}">
        <p14:creationId xmlns:p14="http://schemas.microsoft.com/office/powerpoint/2010/main" val="1253186954"/>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 id="2147483941" r:id="rId36"/>
    <p:sldLayoutId id="2147483942" r:id="rId37"/>
    <p:sldLayoutId id="2147483943" r:id="rId38"/>
    <p:sldLayoutId id="2147483944" r:id="rId39"/>
    <p:sldLayoutId id="2147483945" r:id="rId40"/>
    <p:sldLayoutId id="2147483946" r:id="rId41"/>
    <p:sldLayoutId id="2147483947" r:id="rId42"/>
    <p:sldLayoutId id="2147483948" r:id="rId43"/>
    <p:sldLayoutId id="2147483949" r:id="rId44"/>
    <p:sldLayoutId id="2147483950" r:id="rId45"/>
    <p:sldLayoutId id="2147483951" r:id="rId46"/>
    <p:sldLayoutId id="2147483952" r:id="rId47"/>
    <p:sldLayoutId id="2147483953" r:id="rId48"/>
    <p:sldLayoutId id="2147483954" r:id="rId49"/>
    <p:sldLayoutId id="2147483955" r:id="rId50"/>
    <p:sldLayoutId id="2147483956" r:id="rId51"/>
    <p:sldLayoutId id="2147483957" r:id="rId52"/>
    <p:sldLayoutId id="2147483958" r:id="rId53"/>
    <p:sldLayoutId id="2147483959" r:id="rId54"/>
    <p:sldLayoutId id="2147483960" r:id="rId55"/>
    <p:sldLayoutId id="2147483961" r:id="rId56"/>
    <p:sldLayoutId id="2147483962" r:id="rId57"/>
    <p:sldLayoutId id="2147483963" r:id="rId58"/>
    <p:sldLayoutId id="2147483964" r:id="rId59"/>
    <p:sldLayoutId id="2147483965" r:id="rId60"/>
    <p:sldLayoutId id="2147483966" r:id="rId61"/>
    <p:sldLayoutId id="2147483967" r:id="rId62"/>
    <p:sldLayoutId id="2147483968" r:id="rId63"/>
    <p:sldLayoutId id="2147483969" r:id="rId64"/>
    <p:sldLayoutId id="2147483970" r:id="rId65"/>
    <p:sldLayoutId id="2147483972"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kumimoji="0" lang="en-US" sz="2400" b="0" i="0" u="none" strike="noStrike" kern="1200" cap="none" spc="0" normalizeH="0" baseline="0" dirty="0">
          <a:ln>
            <a:noFill/>
          </a:ln>
          <a:solidFill>
            <a:srgbClr val="5A2259"/>
          </a:solidFill>
          <a:effectLst/>
          <a:uLnTx/>
          <a:uFillTx/>
          <a:latin typeface="Franklin Gothic Medium"/>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171450" indent="-17145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2pPr>
      <a:lvl3pPr marL="342900" indent="-165100" algn="l" defTabSz="914400" rtl="0" eaLnBrk="1" latinLnBrk="0" hangingPunct="1">
        <a:lnSpc>
          <a:spcPct val="90000"/>
        </a:lnSpc>
        <a:spcBef>
          <a:spcPts val="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accent6"/>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accent6"/>
          </a:solidFill>
          <a:latin typeface="+mn-lt"/>
          <a:ea typeface="+mn-ea"/>
          <a:cs typeface="+mn-cs"/>
          <a:sym typeface="+mn-lt"/>
        </a:defRPr>
      </a:lvl5pPr>
      <a:lvl6pPr marL="174625" indent="-174625" algn="l" defTabSz="914400" rtl="0" eaLnBrk="1" latinLnBrk="0" hangingPunct="1">
        <a:lnSpc>
          <a:spcPct val="90000"/>
        </a:lnSpc>
        <a:spcBef>
          <a:spcPts val="0"/>
        </a:spcBef>
        <a:spcAft>
          <a:spcPts val="600"/>
        </a:spcAft>
        <a:buClr>
          <a:schemeClr val="tx2"/>
        </a:buClr>
        <a:buFont typeface="Wingdings" panose="05000000000000000000" pitchFamily="2" charset="2"/>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accent6"/>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accent6"/>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accent6"/>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408">
          <p15:clr>
            <a:srgbClr val="F26B43"/>
          </p15:clr>
        </p15:guide>
        <p15:guide id="3" pos="7275">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CB2A9C5F-569E-41BE-B5E5-7CBFE1B687B2}" type="datetime1">
              <a:rPr lang="en-GB" smtClean="0"/>
              <a:pPr/>
              <a:t>14/03/2024</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2696904036"/>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Lst>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493486"/>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B7BEEE36-EBC5-45F7-B3DE-398CBD065D58}"/>
              </a:ext>
            </a:extLst>
          </p:cNvPr>
          <p:cNvSpPr>
            <a:spLocks/>
          </p:cNvSpPr>
          <p:nvPr userDrawn="1"/>
        </p:nvSpPr>
        <p:spPr bwMode="gray">
          <a:xfrm>
            <a:off x="0" y="-27384"/>
            <a:ext cx="12192000" cy="11968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p>
        </p:txBody>
      </p:sp>
      <p:graphicFrame>
        <p:nvGraphicFramePr>
          <p:cNvPr id="2" name="Object 1" hidden="1"/>
          <p:cNvGraphicFramePr>
            <a:graphicFrameLocks noChangeAspect="1"/>
          </p:cNvGraphicFramePr>
          <p:nvPr>
            <p:custDataLst>
              <p:tags r:id="rId7"/>
            </p:custDataLst>
          </p:nvPr>
        </p:nvGraphicFramePr>
        <p:xfrm>
          <a:off x="0" y="2"/>
          <a:ext cx="215978" cy="161975"/>
        </p:xfrm>
        <a:graphic>
          <a:graphicData uri="http://schemas.openxmlformats.org/presentationml/2006/ole">
            <mc:AlternateContent xmlns:mc="http://schemas.openxmlformats.org/markup-compatibility/2006">
              <mc:Choice xmlns:v="urn:schemas-microsoft-com:vml" Requires="v">
                <p:oleObj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0" y="2"/>
                        <a:ext cx="215978" cy="161975"/>
                      </a:xfrm>
                      <a:prstGeom prst="rect">
                        <a:avLst/>
                      </a:prstGeom>
                    </p:spPr>
                  </p:pic>
                </p:oleObj>
              </mc:Fallback>
            </mc:AlternateContent>
          </a:graphicData>
        </a:graphic>
      </p:graphicFrame>
      <p:sp>
        <p:nvSpPr>
          <p:cNvPr id="6" name="Rectangle 5" hidden="1"/>
          <p:cNvSpPr/>
          <p:nvPr>
            <p:custDataLst>
              <p:tags r:id="rId8"/>
            </p:custDataLst>
          </p:nvPr>
        </p:nvSpPr>
        <p:spPr bwMode="auto">
          <a:xfrm>
            <a:off x="0" y="2"/>
            <a:ext cx="215978"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laceholder 2"/>
          <p:cNvSpPr>
            <a:spLocks noGrp="1" noChangeArrowheads="1"/>
          </p:cNvSpPr>
          <p:nvPr>
            <p:ph type="title"/>
          </p:nvPr>
        </p:nvSpPr>
        <p:spPr bwMode="gray">
          <a:xfrm>
            <a:off x="609600" y="685239"/>
            <a:ext cx="10972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609600" y="7020"/>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buClr>
                <a:schemeClr val="bg1"/>
              </a:buClr>
              <a:tabLst>
                <a:tab pos="361950" algn="l"/>
              </a:tabLst>
            </a:pPr>
            <a:r>
              <a:rPr lang="en-US" sz="1000" cap="all" baseline="0">
                <a:solidFill>
                  <a:schemeClr val="bg1"/>
                </a:solidFill>
                <a:latin typeface="+mn-lt"/>
              </a:rPr>
              <a:t>TRACKER</a:t>
            </a:r>
          </a:p>
        </p:txBody>
      </p:sp>
      <p:sp>
        <p:nvSpPr>
          <p:cNvPr id="11" name="3. Unit of measure" hidden="1"/>
          <p:cNvSpPr txBox="1">
            <a:spLocks noChangeArrowheads="1"/>
          </p:cNvSpPr>
          <p:nvPr/>
        </p:nvSpPr>
        <p:spPr bwMode="gray">
          <a:xfrm>
            <a:off x="609600" y="1198769"/>
            <a:ext cx="109728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tabLst>
                <a:tab pos="361950" algn="l"/>
              </a:tabLst>
              <a:defRPr lang="x-none"/>
            </a:pPr>
            <a:r>
              <a:rPr lang="en-US" sz="1600">
                <a:solidFill>
                  <a:schemeClr val="tx1"/>
                </a:solidFill>
                <a:latin typeface="+mn-lt"/>
              </a:rPr>
              <a:t>Unit of measure</a:t>
            </a:r>
          </a:p>
        </p:txBody>
      </p:sp>
      <p:sp>
        <p:nvSpPr>
          <p:cNvPr id="3" name="Text Placeholder 2"/>
          <p:cNvSpPr>
            <a:spLocks noGrp="1"/>
          </p:cNvSpPr>
          <p:nvPr>
            <p:ph type="body" idx="1"/>
          </p:nvPr>
        </p:nvSpPr>
        <p:spPr bwMode="gray">
          <a:xfrm>
            <a:off x="609600" y="2471775"/>
            <a:ext cx="10972800" cy="1231106"/>
          </a:xfrm>
          <a:prstGeom prst="rect">
            <a:avLst/>
          </a:prstGeom>
        </p:spPr>
        <p:txBody>
          <a:bodyPr vert="horz" wrap="square"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609600" y="1851367"/>
            <a:ext cx="2227807" cy="510220"/>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p:spPr>
          <p:txBody>
            <a:bodyPr vert="horz" wrap="square" lIns="0" tIns="0" rIns="0" bIns="18288" rtlCol="0" anchor="b">
              <a:spAutoFit/>
            </a:bodyPr>
            <a:lstStyle/>
            <a:p>
              <a:pPr marL="0" lvl="0" indent="0" defTabSz="913572" eaLnBrk="1" latinLnBrk="0" hangingPunct="1">
                <a:buClr>
                  <a:schemeClr val="tx1"/>
                </a:buClr>
                <a:buSzPct val="100000"/>
                <a:buFontTx/>
                <a:buNone/>
              </a:pPr>
              <a:r>
                <a:rPr lang="en-US" sz="1600" b="1" baseline="0">
                  <a:latin typeface="+mn-lt"/>
                </a:rPr>
                <a:t>Title</a:t>
              </a:r>
            </a:p>
            <a:p>
              <a:pPr marL="0" lvl="0" indent="0" defTabSz="913572" eaLnBrk="1" latinLnBrk="0" hangingPunct="1">
                <a:buClr>
                  <a:schemeClr val="tx1"/>
                </a:buClr>
                <a:buSzPct val="100000"/>
                <a:buFontTx/>
                <a:buNone/>
              </a:pPr>
              <a:r>
                <a:rPr lang="en-US" sz="1600" baseline="0">
                  <a:latin typeface="+mn-lt"/>
                </a:rPr>
                <a:t>Unit of measure</a:t>
              </a:r>
            </a:p>
          </p:txBody>
        </p:sp>
      </p:grpSp>
      <p:sp>
        <p:nvSpPr>
          <p:cNvPr id="63" name="Slide Number"/>
          <p:cNvSpPr txBox="1">
            <a:spLocks/>
          </p:cNvSpPr>
          <p:nvPr userDrawn="1"/>
        </p:nvSpPr>
        <p:spPr bwMode="gray">
          <a:xfrm>
            <a:off x="11273054" y="6108272"/>
            <a:ext cx="309346" cy="123111"/>
          </a:xfrm>
          <a:prstGeom prst="rect">
            <a:avLst/>
          </a:prstGeom>
        </p:spPr>
        <p:txBody>
          <a:bodyPr vert="horz" wrap="none" lIns="0" tIns="0" rIns="0" bIns="0" rtlCol="0" anchor="ctr">
            <a:noAutofit/>
          </a:bodyPr>
          <a:lstStyle>
            <a:defPPr>
              <a:defRPr lang="x-none"/>
            </a:defPPr>
            <a:lvl1pPr>
              <a:defRPr lang="x-none" sz="1000" baseline="0">
                <a:latin typeface="+mn-lt"/>
              </a:defRPr>
            </a:lvl1pPr>
          </a:lstStyle>
          <a:p>
            <a:pPr algn="r"/>
            <a:fld id="{42C328C1-A84F-4A39-A664-DBA00541A8C6}" type="slidenum">
              <a:rPr lang="en-US" sz="1000" smtClean="0">
                <a:solidFill>
                  <a:schemeClr val="tx1"/>
                </a:solidFill>
              </a:rPr>
              <a:pPr algn="r"/>
              <a:t>‹#›</a:t>
            </a:fld>
            <a:endParaRPr lang="en-US" sz="1000">
              <a:solidFill>
                <a:schemeClr val="tx1"/>
              </a:solidFill>
            </a:endParaRPr>
          </a:p>
        </p:txBody>
      </p:sp>
      <p:sp>
        <p:nvSpPr>
          <p:cNvPr id="13" name="4. Footnote" hidden="1"/>
          <p:cNvSpPr txBox="1">
            <a:spLocks noChangeArrowheads="1"/>
          </p:cNvSpPr>
          <p:nvPr userDrawn="1"/>
        </p:nvSpPr>
        <p:spPr bwMode="gray">
          <a:xfrm>
            <a:off x="609600" y="5836400"/>
            <a:ext cx="10972800"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50" indent="-95250">
              <a:defRPr lang="x-none"/>
            </a:pPr>
            <a:r>
              <a:rPr lang="en-US" sz="900">
                <a:solidFill>
                  <a:schemeClr val="tx1"/>
                </a:solidFill>
                <a:latin typeface="+mn-lt"/>
              </a:rPr>
              <a:t>1 Footnote</a:t>
            </a:r>
          </a:p>
        </p:txBody>
      </p:sp>
      <p:sp>
        <p:nvSpPr>
          <p:cNvPr id="14" name="5. Source" hidden="1"/>
          <p:cNvSpPr>
            <a:spLocks noChangeArrowheads="1"/>
          </p:cNvSpPr>
          <p:nvPr userDrawn="1"/>
        </p:nvSpPr>
        <p:spPr bwMode="gray">
          <a:xfrm>
            <a:off x="3536949" y="6146663"/>
            <a:ext cx="543083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p>
            <a:pPr marL="427038" indent="-427038" defTabSz="913572">
              <a:tabLst/>
            </a:pPr>
            <a:r>
              <a:rPr lang="en-US" sz="900">
                <a:solidFill>
                  <a:schemeClr val="tx1"/>
                </a:solidFill>
                <a:latin typeface="+mn-lt"/>
              </a:rPr>
              <a:t>Source: Source</a:t>
            </a:r>
          </a:p>
        </p:txBody>
      </p:sp>
      <p:grpSp>
        <p:nvGrpSpPr>
          <p:cNvPr id="108" name="Sticker" hidden="1"/>
          <p:cNvGrpSpPr/>
          <p:nvPr userDrawn="1"/>
        </p:nvGrpSpPr>
        <p:grpSpPr bwMode="gray">
          <a:xfrm>
            <a:off x="10915377" y="1198769"/>
            <a:ext cx="667023" cy="241447"/>
            <a:chOff x="8073926" y="285750"/>
            <a:chExt cx="666849" cy="241447"/>
          </a:xfrm>
        </p:grpSpPr>
        <p:sp>
          <p:nvSpPr>
            <p:cNvPr id="109" name="StickerRectangle"/>
            <p:cNvSpPr>
              <a:spLocks noChangeArrowheads="1"/>
            </p:cNvSpPr>
            <p:nvPr/>
          </p:nvSpPr>
          <p:spPr bwMode="gray">
            <a:xfrm>
              <a:off x="8073926" y="285750"/>
              <a:ext cx="666849" cy="2414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619">
                <a:buClr>
                  <a:schemeClr val="tx2"/>
                </a:buClr>
              </a:pPr>
              <a:r>
                <a:rPr lang="en-US" sz="1200" noProof="0">
                  <a:solidFill>
                    <a:schemeClr val="tx1"/>
                  </a:solidFill>
                  <a:latin typeface="+mn-lt"/>
                </a:rPr>
                <a:t>STICKER</a:t>
              </a:r>
            </a:p>
          </p:txBody>
        </p:sp>
        <p:cxnSp>
          <p:nvCxnSpPr>
            <p:cNvPr id="110" name="AutoShape 32"/>
            <p:cNvCxnSpPr>
              <a:cxnSpLocks noChangeShapeType="1"/>
              <a:stCxn id="109" idx="4"/>
              <a:endCxn id="109" idx="6"/>
            </p:cNvCxnSpPr>
            <p:nvPr/>
          </p:nvCxnSpPr>
          <p:spPr bwMode="gray">
            <a:xfrm>
              <a:off x="8073926" y="527197"/>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2"/>
              <a:endCxn id="109" idx="0"/>
            </p:cNvCxnSpPr>
            <p:nvPr userDrawn="1"/>
          </p:nvCxnSpPr>
          <p:spPr bwMode="gray">
            <a:xfrm>
              <a:off x="8073926" y="285750"/>
              <a:ext cx="66684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62" name="DirArrow" hidden="1"/>
          <p:cNvSpPr>
            <a:spLocks noChangeArrowheads="1"/>
          </p:cNvSpPr>
          <p:nvPr userDrawn="1">
            <p:custDataLst>
              <p:tags r:id="rId9"/>
            </p:custDataLst>
          </p:nvPr>
        </p:nvSpPr>
        <p:spPr bwMode="gray">
          <a:xfrm rot="5400000">
            <a:off x="5553846" y="2997926"/>
            <a:ext cx="3090672" cy="343497"/>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en-US" sz="1600">
              <a:latin typeface="+mn-lt"/>
            </a:endParaRPr>
          </a:p>
        </p:txBody>
      </p:sp>
      <p:grpSp>
        <p:nvGrpSpPr>
          <p:cNvPr id="68" name="Flow" hidden="1"/>
          <p:cNvGrpSpPr>
            <a:grpSpLocks/>
          </p:cNvGrpSpPr>
          <p:nvPr userDrawn="1">
            <p:custDataLst>
              <p:tags r:id="rId10"/>
            </p:custDataLst>
          </p:nvPr>
        </p:nvGrpSpPr>
        <p:grpSpPr bwMode="gray">
          <a:xfrm>
            <a:off x="1948371" y="3395577"/>
            <a:ext cx="1830388" cy="914400"/>
            <a:chOff x="5905500" y="3124200"/>
            <a:chExt cx="1828800" cy="914400"/>
          </a:xfrm>
          <a:solidFill>
            <a:schemeClr val="accent1"/>
          </a:solidFill>
        </p:grpSpPr>
        <p:sp>
          <p:nvSpPr>
            <p:cNvPr id="69" name="Freeform 68"/>
            <p:cNvSpPr/>
            <p:nvPr>
              <p:custDataLst>
                <p:tags r:id="rId4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latin typeface="+mn-lt"/>
              </a:endParaRPr>
            </a:p>
          </p:txBody>
        </p:sp>
        <p:sp>
          <p:nvSpPr>
            <p:cNvPr id="70" name="TextBox 69"/>
            <p:cNvSpPr txBox="1"/>
            <p:nvPr>
              <p:custDataLst>
                <p:tags r:id="rId41"/>
              </p:custDataLst>
            </p:nvPr>
          </p:nvSpPr>
          <p:spPr bwMode="gray">
            <a:xfrm>
              <a:off x="5969000" y="3187700"/>
              <a:ext cx="1524000" cy="793223"/>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grpSp>
      <p:sp>
        <p:nvSpPr>
          <p:cNvPr id="100" name="Oval" hidden="1"/>
          <p:cNvSpPr txBox="1">
            <a:spLocks/>
          </p:cNvSpPr>
          <p:nvPr userDrawn="1"/>
        </p:nvSpPr>
        <p:spPr bwMode="gray">
          <a:xfrm>
            <a:off x="1954973" y="1624338"/>
            <a:ext cx="1525588" cy="1524000"/>
          </a:xfrm>
          <a:prstGeom prst="ellipse">
            <a:avLst/>
          </a:prstGeom>
          <a:solidFill>
            <a:schemeClr val="accent1"/>
          </a:solidFill>
          <a:ln>
            <a:solidFill>
              <a:schemeClr val="tx1"/>
            </a:solidFill>
          </a:ln>
        </p:spPr>
        <p:txBody>
          <a:bodyPr vert="horz" wrap="square" lIns="73152" tIns="73152" rIns="73152" bIns="73152" rtlCol="0" anchor="ctr">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lgn="ctr"/>
            <a:r>
              <a:rPr lang="en-US"/>
              <a:t>Text</a:t>
            </a:r>
          </a:p>
        </p:txBody>
      </p:sp>
      <p:sp>
        <p:nvSpPr>
          <p:cNvPr id="101" name="Body3" hidden="1"/>
          <p:cNvSpPr txBox="1">
            <a:spLocks/>
          </p:cNvSpPr>
          <p:nvPr userDrawn="1"/>
        </p:nvSpPr>
        <p:spPr bwMode="gray">
          <a:xfrm>
            <a:off x="3591714" y="1624337"/>
            <a:ext cx="1525588" cy="1524000"/>
          </a:xfrm>
          <a:prstGeom prst="rect">
            <a:avLst/>
          </a:prstGeom>
          <a:solidFill>
            <a:schemeClr val="accent1"/>
          </a:solidFill>
          <a:ln>
            <a:solidFill>
              <a:schemeClr val="tx1"/>
            </a:solidFill>
          </a:ln>
        </p:spPr>
        <p:txBody>
          <a:bodyPr vert="horz" wrap="square" lIns="73152" tIns="73152" rIns="73152" bIns="73152" rtlCol="0">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a:t>Text</a:t>
            </a:r>
          </a:p>
        </p:txBody>
      </p:sp>
      <p:sp>
        <p:nvSpPr>
          <p:cNvPr id="102" name="RoundedRectangle" hidden="1"/>
          <p:cNvSpPr txBox="1">
            <a:spLocks/>
          </p:cNvSpPr>
          <p:nvPr userDrawn="1"/>
        </p:nvSpPr>
        <p:spPr bwMode="gray">
          <a:xfrm>
            <a:off x="5286771" y="1624338"/>
            <a:ext cx="1525588" cy="1524000"/>
          </a:xfrm>
          <a:prstGeom prst="roundRect">
            <a:avLst/>
          </a:prstGeom>
          <a:solidFill>
            <a:schemeClr val="accent1"/>
          </a:solidFill>
          <a:ln>
            <a:solidFill>
              <a:schemeClr val="tx1"/>
            </a:solidFill>
          </a:ln>
        </p:spPr>
        <p:txBody>
          <a:bodyPr vert="horz" wrap="square" lIns="73152" tIns="73152" rIns="73152" bIns="73152" rtlCol="0">
            <a:noAutofit/>
          </a:bodyPr>
          <a:lstStyle>
            <a:defPPr>
              <a:defRPr lang="en-US"/>
            </a:defPPr>
            <a:lvl1pPr marL="0" lvl="0" indent="0" defTabSz="913572" eaLnBrk="1" latinLnBrk="0" hangingPunct="1">
              <a:buClr>
                <a:schemeClr val="tx1"/>
              </a:buClr>
              <a:buSzPct val="100000"/>
              <a:buFontTx/>
              <a:buNone/>
              <a:defRPr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sz="1600" baseline="0">
                <a:latin typeface="+mn-lt"/>
              </a:defRPr>
            </a:lvl5pPr>
            <a:lvl6pPr marL="765067" indent="-132825" defTabSz="913572" fontAlgn="base">
              <a:spcBef>
                <a:spcPct val="0"/>
              </a:spcBef>
              <a:spcAft>
                <a:spcPct val="0"/>
              </a:spcAft>
              <a:buClr>
                <a:schemeClr val="tx2"/>
              </a:buClr>
              <a:buSzPct val="89000"/>
              <a:buFont typeface="Arial" charset="0"/>
              <a:buChar char="-"/>
              <a:defRPr sz="1632" baseline="0">
                <a:latin typeface="+mn-lt"/>
              </a:defRPr>
            </a:lvl6pPr>
            <a:lvl7pPr marL="765067" indent="-132825" defTabSz="913572" fontAlgn="base">
              <a:spcBef>
                <a:spcPct val="0"/>
              </a:spcBef>
              <a:spcAft>
                <a:spcPct val="0"/>
              </a:spcAft>
              <a:buClr>
                <a:schemeClr val="tx2"/>
              </a:buClr>
              <a:buSzPct val="89000"/>
              <a:buFont typeface="Arial" charset="0"/>
              <a:buChar char="-"/>
              <a:defRPr sz="1632" baseline="0">
                <a:latin typeface="+mn-lt"/>
              </a:defRPr>
            </a:lvl7pPr>
            <a:lvl8pPr marL="765067" indent="-132825" defTabSz="913572" fontAlgn="base">
              <a:spcBef>
                <a:spcPct val="0"/>
              </a:spcBef>
              <a:spcAft>
                <a:spcPct val="0"/>
              </a:spcAft>
              <a:buClr>
                <a:schemeClr val="tx2"/>
              </a:buClr>
              <a:buSzPct val="89000"/>
              <a:buFont typeface="Arial" charset="0"/>
              <a:buChar char="-"/>
              <a:defRPr sz="1632" baseline="0">
                <a:latin typeface="+mn-lt"/>
              </a:defRPr>
            </a:lvl8pPr>
            <a:lvl9pPr marL="765067" indent="-132825" defTabSz="913572" fontAlgn="base">
              <a:spcBef>
                <a:spcPct val="0"/>
              </a:spcBef>
              <a:spcAft>
                <a:spcPct val="0"/>
              </a:spcAft>
              <a:buClr>
                <a:schemeClr val="tx2"/>
              </a:buClr>
              <a:buSzPct val="89000"/>
              <a:buFont typeface="Arial" charset="0"/>
              <a:buChar char="-"/>
              <a:defRPr sz="1632" baseline="0">
                <a:latin typeface="+mn-lt"/>
              </a:defRPr>
            </a:lvl9pPr>
          </a:lstStyle>
          <a:p>
            <a:pPr lvl="0"/>
            <a:r>
              <a:rPr lang="en-US"/>
              <a:t>Text</a:t>
            </a:r>
          </a:p>
        </p:txBody>
      </p:sp>
      <p:sp>
        <p:nvSpPr>
          <p:cNvPr id="103" name="Arrow" hidden="1"/>
          <p:cNvSpPr txBox="1">
            <a:spLocks/>
          </p:cNvSpPr>
          <p:nvPr userDrawn="1"/>
        </p:nvSpPr>
        <p:spPr bwMode="gray">
          <a:xfrm>
            <a:off x="1946174" y="4362178"/>
            <a:ext cx="1830388" cy="914400"/>
          </a:xfrm>
          <a:prstGeom prst="rightArrow">
            <a:avLst>
              <a:gd name="adj1" fmla="val 50000"/>
              <a:gd name="adj2" fmla="val 37097"/>
            </a:avLst>
          </a:prstGeom>
          <a:solidFill>
            <a:schemeClr val="accent1"/>
          </a:solidFill>
          <a:ln>
            <a:solidFill>
              <a:schemeClr val="tx1"/>
            </a:solidFill>
          </a:ln>
        </p:spPr>
        <p:txBody>
          <a:bodyPr vert="horz" wrap="square" lIns="73152" tIns="73152" rIns="73152" bIns="73152" rtlCol="0" anchor="ctr">
            <a:noAutofit/>
          </a:bodyPr>
          <a:lstStyle>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en-US" b="1"/>
              <a:t>Text</a:t>
            </a:r>
          </a:p>
        </p:txBody>
      </p:sp>
      <p:sp>
        <p:nvSpPr>
          <p:cNvPr id="76" name="Bracket" hidden="1">
            <a:extLst>
              <a:ext uri="{FF2B5EF4-FFF2-40B4-BE49-F238E27FC236}">
                <a16:creationId xmlns:a16="http://schemas.microsoft.com/office/drawing/2014/main" id="{03378CBE-FB83-478F-9CFD-3D41B39200BE}"/>
              </a:ext>
            </a:extLst>
          </p:cNvPr>
          <p:cNvSpPr>
            <a:spLocks noChangeAspect="1"/>
          </p:cNvSpPr>
          <p:nvPr userDrawn="1">
            <p:custDataLst>
              <p:tags r:id="rId11"/>
            </p:custDataLst>
          </p:nvPr>
        </p:nvSpPr>
        <p:spPr bwMode="gray">
          <a:xfrm>
            <a:off x="6514902" y="3395577"/>
            <a:ext cx="190526" cy="1651001"/>
          </a:xfrm>
          <a:custGeom>
            <a:avLst/>
            <a:gdLst>
              <a:gd name="connsiteX0" fmla="*/ 0 w 237731"/>
              <a:gd name="connsiteY0" fmla="*/ 0 h 2667000"/>
              <a:gd name="connsiteX1" fmla="*/ 174231 w 237731"/>
              <a:gd name="connsiteY1" fmla="*/ 101600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174231 w 237731"/>
              <a:gd name="connsiteY2" fmla="*/ 1778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237731"/>
              <a:gd name="connsiteY0" fmla="*/ 0 h 2667000"/>
              <a:gd name="connsiteX1" fmla="*/ 25025 w 237731"/>
              <a:gd name="connsiteY1" fmla="*/ 0 h 2667000"/>
              <a:gd name="connsiteX2" fmla="*/ 25025 w 237731"/>
              <a:gd name="connsiteY2" fmla="*/ 762000 h 2667000"/>
              <a:gd name="connsiteX3" fmla="*/ 237731 w 237731"/>
              <a:gd name="connsiteY3" fmla="*/ 1841500 h 2667000"/>
              <a:gd name="connsiteX4" fmla="*/ 174231 w 237731"/>
              <a:gd name="connsiteY4" fmla="*/ 1905000 h 2667000"/>
              <a:gd name="connsiteX5" fmla="*/ 174231 w 237731"/>
              <a:gd name="connsiteY5" fmla="*/ 2667000 h 2667000"/>
              <a:gd name="connsiteX6" fmla="*/ 47231 w 2377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174231 w 174231"/>
              <a:gd name="connsiteY4" fmla="*/ 1905000 h 2667000"/>
              <a:gd name="connsiteX5" fmla="*/ 174231 w 174231"/>
              <a:gd name="connsiteY5" fmla="*/ 2667000 h 2667000"/>
              <a:gd name="connsiteX6" fmla="*/ 47231 w 174231"/>
              <a:gd name="connsiteY6" fmla="*/ 2667000 h 2667000"/>
              <a:gd name="connsiteX0" fmla="*/ 0 w 174231"/>
              <a:gd name="connsiteY0" fmla="*/ 0 h 2667000"/>
              <a:gd name="connsiteX1" fmla="*/ 25025 w 174231"/>
              <a:gd name="connsiteY1" fmla="*/ 0 h 2667000"/>
              <a:gd name="connsiteX2" fmla="*/ 25025 w 174231"/>
              <a:gd name="connsiteY2" fmla="*/ 762000 h 2667000"/>
              <a:gd name="connsiteX3" fmla="*/ 37537 w 174231"/>
              <a:gd name="connsiteY3" fmla="*/ 825500 h 2667000"/>
              <a:gd name="connsiteX4" fmla="*/ 25025 w 174231"/>
              <a:gd name="connsiteY4" fmla="*/ 889000 h 2667000"/>
              <a:gd name="connsiteX5" fmla="*/ 174231 w 174231"/>
              <a:gd name="connsiteY5" fmla="*/ 2667000 h 2667000"/>
              <a:gd name="connsiteX6" fmla="*/ 47231 w 174231"/>
              <a:gd name="connsiteY6" fmla="*/ 2667000 h 2667000"/>
              <a:gd name="connsiteX0" fmla="*/ 0 w 47231"/>
              <a:gd name="connsiteY0" fmla="*/ 0 h 2667000"/>
              <a:gd name="connsiteX1" fmla="*/ 25025 w 47231"/>
              <a:gd name="connsiteY1" fmla="*/ 0 h 2667000"/>
              <a:gd name="connsiteX2" fmla="*/ 25025 w 47231"/>
              <a:gd name="connsiteY2" fmla="*/ 762000 h 2667000"/>
              <a:gd name="connsiteX3" fmla="*/ 37537 w 47231"/>
              <a:gd name="connsiteY3" fmla="*/ 825500 h 2667000"/>
              <a:gd name="connsiteX4" fmla="*/ 25025 w 47231"/>
              <a:gd name="connsiteY4" fmla="*/ 889000 h 2667000"/>
              <a:gd name="connsiteX5" fmla="*/ 25025 w 47231"/>
              <a:gd name="connsiteY5" fmla="*/ 1651001 h 2667000"/>
              <a:gd name="connsiteX6" fmla="*/ 47231 w 47231"/>
              <a:gd name="connsiteY6" fmla="*/ 2667000 h 2667000"/>
              <a:gd name="connsiteX0" fmla="*/ 0 w 37537"/>
              <a:gd name="connsiteY0" fmla="*/ 0 h 1651001"/>
              <a:gd name="connsiteX1" fmla="*/ 25025 w 37537"/>
              <a:gd name="connsiteY1" fmla="*/ 0 h 1651001"/>
              <a:gd name="connsiteX2" fmla="*/ 25025 w 37537"/>
              <a:gd name="connsiteY2" fmla="*/ 762000 h 1651001"/>
              <a:gd name="connsiteX3" fmla="*/ 37537 w 37537"/>
              <a:gd name="connsiteY3" fmla="*/ 825500 h 1651001"/>
              <a:gd name="connsiteX4" fmla="*/ 25025 w 37537"/>
              <a:gd name="connsiteY4" fmla="*/ 889000 h 1651001"/>
              <a:gd name="connsiteX5" fmla="*/ 25025 w 37537"/>
              <a:gd name="connsiteY5" fmla="*/ 1651001 h 1651001"/>
              <a:gd name="connsiteX6" fmla="*/ 1 w 37537"/>
              <a:gd name="connsiteY6" fmla="*/ 1651001 h 1651001"/>
              <a:gd name="connsiteX0" fmla="*/ 0 w 443862"/>
              <a:gd name="connsiteY0" fmla="*/ 0 h 5119150"/>
              <a:gd name="connsiteX1" fmla="*/ 431350 w 443862"/>
              <a:gd name="connsiteY1" fmla="*/ 3468149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431350 w 443862"/>
              <a:gd name="connsiteY2" fmla="*/ 4230149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43862"/>
              <a:gd name="connsiteY0" fmla="*/ 0 h 5119150"/>
              <a:gd name="connsiteX1" fmla="*/ 8826 w 443862"/>
              <a:gd name="connsiteY1" fmla="*/ 0 h 5119150"/>
              <a:gd name="connsiteX2" fmla="*/ 8826 w 443862"/>
              <a:gd name="connsiteY2" fmla="*/ 762000 h 5119150"/>
              <a:gd name="connsiteX3" fmla="*/ 443862 w 443862"/>
              <a:gd name="connsiteY3" fmla="*/ 4293649 h 5119150"/>
              <a:gd name="connsiteX4" fmla="*/ 431350 w 443862"/>
              <a:gd name="connsiteY4" fmla="*/ 4357149 h 5119150"/>
              <a:gd name="connsiteX5" fmla="*/ 431350 w 443862"/>
              <a:gd name="connsiteY5" fmla="*/ 5119150 h 5119150"/>
              <a:gd name="connsiteX6" fmla="*/ 406326 w 443862"/>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431350 w 431350"/>
              <a:gd name="connsiteY4" fmla="*/ 4357149 h 5119150"/>
              <a:gd name="connsiteX5" fmla="*/ 431350 w 431350"/>
              <a:gd name="connsiteY5" fmla="*/ 5119150 h 5119150"/>
              <a:gd name="connsiteX6" fmla="*/ 406326 w 431350"/>
              <a:gd name="connsiteY6" fmla="*/ 5119150 h 5119150"/>
              <a:gd name="connsiteX0" fmla="*/ 0 w 431350"/>
              <a:gd name="connsiteY0" fmla="*/ 0 h 5119150"/>
              <a:gd name="connsiteX1" fmla="*/ 8826 w 431350"/>
              <a:gd name="connsiteY1" fmla="*/ 0 h 5119150"/>
              <a:gd name="connsiteX2" fmla="*/ 8826 w 431350"/>
              <a:gd name="connsiteY2" fmla="*/ 762000 h 5119150"/>
              <a:gd name="connsiteX3" fmla="*/ 13239 w 431350"/>
              <a:gd name="connsiteY3" fmla="*/ 825500 h 5119150"/>
              <a:gd name="connsiteX4" fmla="*/ 8826 w 431350"/>
              <a:gd name="connsiteY4" fmla="*/ 889000 h 5119150"/>
              <a:gd name="connsiteX5" fmla="*/ 431350 w 431350"/>
              <a:gd name="connsiteY5" fmla="*/ 5119150 h 5119150"/>
              <a:gd name="connsiteX6" fmla="*/ 406326 w 431350"/>
              <a:gd name="connsiteY6" fmla="*/ 5119150 h 5119150"/>
              <a:gd name="connsiteX0" fmla="*/ 0 w 406326"/>
              <a:gd name="connsiteY0" fmla="*/ 0 h 5119150"/>
              <a:gd name="connsiteX1" fmla="*/ 8826 w 406326"/>
              <a:gd name="connsiteY1" fmla="*/ 0 h 5119150"/>
              <a:gd name="connsiteX2" fmla="*/ 8826 w 406326"/>
              <a:gd name="connsiteY2" fmla="*/ 762000 h 5119150"/>
              <a:gd name="connsiteX3" fmla="*/ 13239 w 406326"/>
              <a:gd name="connsiteY3" fmla="*/ 825500 h 5119150"/>
              <a:gd name="connsiteX4" fmla="*/ 8826 w 406326"/>
              <a:gd name="connsiteY4" fmla="*/ 889000 h 5119150"/>
              <a:gd name="connsiteX5" fmla="*/ 8826 w 406326"/>
              <a:gd name="connsiteY5" fmla="*/ 1651001 h 5119150"/>
              <a:gd name="connsiteX6" fmla="*/ 406326 w 406326"/>
              <a:gd name="connsiteY6" fmla="*/ 5119150 h 5119150"/>
              <a:gd name="connsiteX0" fmla="*/ 0 w 13239"/>
              <a:gd name="connsiteY0" fmla="*/ 0 h 1651001"/>
              <a:gd name="connsiteX1" fmla="*/ 8826 w 13239"/>
              <a:gd name="connsiteY1" fmla="*/ 0 h 1651001"/>
              <a:gd name="connsiteX2" fmla="*/ 8826 w 13239"/>
              <a:gd name="connsiteY2" fmla="*/ 762000 h 1651001"/>
              <a:gd name="connsiteX3" fmla="*/ 13239 w 13239"/>
              <a:gd name="connsiteY3" fmla="*/ 825500 h 1651001"/>
              <a:gd name="connsiteX4" fmla="*/ 8826 w 13239"/>
              <a:gd name="connsiteY4" fmla="*/ 889000 h 1651001"/>
              <a:gd name="connsiteX5" fmla="*/ 8826 w 13239"/>
              <a:gd name="connsiteY5" fmla="*/ 1651001 h 1651001"/>
              <a:gd name="connsiteX6" fmla="*/ 0 w 13239"/>
              <a:gd name="connsiteY6" fmla="*/ 1651001 h 1651001"/>
              <a:gd name="connsiteX0" fmla="*/ 0 w 438662"/>
              <a:gd name="connsiteY0" fmla="*/ 0 h 5119150"/>
              <a:gd name="connsiteX1" fmla="*/ 434249 w 438662"/>
              <a:gd name="connsiteY1" fmla="*/ 3468149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434249 w 438662"/>
              <a:gd name="connsiteY2" fmla="*/ 4230149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8662"/>
              <a:gd name="connsiteY0" fmla="*/ 0 h 5119150"/>
              <a:gd name="connsiteX1" fmla="*/ 8826 w 438662"/>
              <a:gd name="connsiteY1" fmla="*/ 0 h 5119150"/>
              <a:gd name="connsiteX2" fmla="*/ 8826 w 438662"/>
              <a:gd name="connsiteY2" fmla="*/ 762000 h 5119150"/>
              <a:gd name="connsiteX3" fmla="*/ 438662 w 438662"/>
              <a:gd name="connsiteY3" fmla="*/ 4293649 h 5119150"/>
              <a:gd name="connsiteX4" fmla="*/ 434249 w 438662"/>
              <a:gd name="connsiteY4" fmla="*/ 4357149 h 5119150"/>
              <a:gd name="connsiteX5" fmla="*/ 434249 w 438662"/>
              <a:gd name="connsiteY5" fmla="*/ 5119150 h 5119150"/>
              <a:gd name="connsiteX6" fmla="*/ 425423 w 438662"/>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434249 w 434249"/>
              <a:gd name="connsiteY4" fmla="*/ 4357149 h 5119150"/>
              <a:gd name="connsiteX5" fmla="*/ 434249 w 434249"/>
              <a:gd name="connsiteY5" fmla="*/ 5119150 h 5119150"/>
              <a:gd name="connsiteX6" fmla="*/ 425423 w 434249"/>
              <a:gd name="connsiteY6" fmla="*/ 5119150 h 5119150"/>
              <a:gd name="connsiteX0" fmla="*/ 0 w 434249"/>
              <a:gd name="connsiteY0" fmla="*/ 0 h 5119150"/>
              <a:gd name="connsiteX1" fmla="*/ 8826 w 434249"/>
              <a:gd name="connsiteY1" fmla="*/ 0 h 5119150"/>
              <a:gd name="connsiteX2" fmla="*/ 8826 w 434249"/>
              <a:gd name="connsiteY2" fmla="*/ 762000 h 5119150"/>
              <a:gd name="connsiteX3" fmla="*/ 13240 w 434249"/>
              <a:gd name="connsiteY3" fmla="*/ 825500 h 5119150"/>
              <a:gd name="connsiteX4" fmla="*/ 8826 w 434249"/>
              <a:gd name="connsiteY4" fmla="*/ 889000 h 5119150"/>
              <a:gd name="connsiteX5" fmla="*/ 434249 w 434249"/>
              <a:gd name="connsiteY5" fmla="*/ 5119150 h 5119150"/>
              <a:gd name="connsiteX6" fmla="*/ 425423 w 434249"/>
              <a:gd name="connsiteY6" fmla="*/ 5119150 h 5119150"/>
              <a:gd name="connsiteX0" fmla="*/ 0 w 425423"/>
              <a:gd name="connsiteY0" fmla="*/ 0 h 5119150"/>
              <a:gd name="connsiteX1" fmla="*/ 8826 w 425423"/>
              <a:gd name="connsiteY1" fmla="*/ 0 h 5119150"/>
              <a:gd name="connsiteX2" fmla="*/ 8826 w 425423"/>
              <a:gd name="connsiteY2" fmla="*/ 762000 h 5119150"/>
              <a:gd name="connsiteX3" fmla="*/ 13240 w 425423"/>
              <a:gd name="connsiteY3" fmla="*/ 825500 h 5119150"/>
              <a:gd name="connsiteX4" fmla="*/ 8826 w 425423"/>
              <a:gd name="connsiteY4" fmla="*/ 889000 h 5119150"/>
              <a:gd name="connsiteX5" fmla="*/ 8826 w 425423"/>
              <a:gd name="connsiteY5" fmla="*/ 1651001 h 5119150"/>
              <a:gd name="connsiteX6" fmla="*/ 425423 w 425423"/>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466020"/>
              <a:gd name="connsiteY0" fmla="*/ 0 h 5119150"/>
              <a:gd name="connsiteX1" fmla="*/ 461606 w 466020"/>
              <a:gd name="connsiteY1" fmla="*/ 3468149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461606 w 466020"/>
              <a:gd name="connsiteY2" fmla="*/ 4230149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6020"/>
              <a:gd name="connsiteY0" fmla="*/ 0 h 5119150"/>
              <a:gd name="connsiteX1" fmla="*/ 8826 w 466020"/>
              <a:gd name="connsiteY1" fmla="*/ 0 h 5119150"/>
              <a:gd name="connsiteX2" fmla="*/ 8826 w 466020"/>
              <a:gd name="connsiteY2" fmla="*/ 762000 h 5119150"/>
              <a:gd name="connsiteX3" fmla="*/ 466020 w 466020"/>
              <a:gd name="connsiteY3" fmla="*/ 4293649 h 5119150"/>
              <a:gd name="connsiteX4" fmla="*/ 461606 w 466020"/>
              <a:gd name="connsiteY4" fmla="*/ 4357149 h 5119150"/>
              <a:gd name="connsiteX5" fmla="*/ 461606 w 466020"/>
              <a:gd name="connsiteY5" fmla="*/ 5119150 h 5119150"/>
              <a:gd name="connsiteX6" fmla="*/ 452780 w 466020"/>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461606 w 461606"/>
              <a:gd name="connsiteY4" fmla="*/ 4357149 h 5119150"/>
              <a:gd name="connsiteX5" fmla="*/ 461606 w 461606"/>
              <a:gd name="connsiteY5" fmla="*/ 5119150 h 5119150"/>
              <a:gd name="connsiteX6" fmla="*/ 452780 w 461606"/>
              <a:gd name="connsiteY6" fmla="*/ 5119150 h 5119150"/>
              <a:gd name="connsiteX0" fmla="*/ 0 w 461606"/>
              <a:gd name="connsiteY0" fmla="*/ 0 h 5119150"/>
              <a:gd name="connsiteX1" fmla="*/ 8826 w 461606"/>
              <a:gd name="connsiteY1" fmla="*/ 0 h 5119150"/>
              <a:gd name="connsiteX2" fmla="*/ 8826 w 461606"/>
              <a:gd name="connsiteY2" fmla="*/ 762000 h 5119150"/>
              <a:gd name="connsiteX3" fmla="*/ 13240 w 461606"/>
              <a:gd name="connsiteY3" fmla="*/ 825500 h 5119150"/>
              <a:gd name="connsiteX4" fmla="*/ 8826 w 461606"/>
              <a:gd name="connsiteY4" fmla="*/ 889000 h 5119150"/>
              <a:gd name="connsiteX5" fmla="*/ 461606 w 461606"/>
              <a:gd name="connsiteY5" fmla="*/ 5119150 h 5119150"/>
              <a:gd name="connsiteX6" fmla="*/ 452780 w 461606"/>
              <a:gd name="connsiteY6" fmla="*/ 5119150 h 5119150"/>
              <a:gd name="connsiteX0" fmla="*/ 0 w 452780"/>
              <a:gd name="connsiteY0" fmla="*/ 0 h 5119150"/>
              <a:gd name="connsiteX1" fmla="*/ 8826 w 452780"/>
              <a:gd name="connsiteY1" fmla="*/ 0 h 5119150"/>
              <a:gd name="connsiteX2" fmla="*/ 8826 w 452780"/>
              <a:gd name="connsiteY2" fmla="*/ 762000 h 5119150"/>
              <a:gd name="connsiteX3" fmla="*/ 13240 w 452780"/>
              <a:gd name="connsiteY3" fmla="*/ 825500 h 5119150"/>
              <a:gd name="connsiteX4" fmla="*/ 8826 w 452780"/>
              <a:gd name="connsiteY4" fmla="*/ 889000 h 5119150"/>
              <a:gd name="connsiteX5" fmla="*/ 8826 w 452780"/>
              <a:gd name="connsiteY5" fmla="*/ 1651001 h 5119150"/>
              <a:gd name="connsiteX6" fmla="*/ 452780 w 452780"/>
              <a:gd name="connsiteY6" fmla="*/ 5119150 h 5119150"/>
              <a:gd name="connsiteX0" fmla="*/ 0 w 13240"/>
              <a:gd name="connsiteY0" fmla="*/ 0 h 1651001"/>
              <a:gd name="connsiteX1" fmla="*/ 8826 w 13240"/>
              <a:gd name="connsiteY1" fmla="*/ 0 h 1651001"/>
              <a:gd name="connsiteX2" fmla="*/ 8826 w 13240"/>
              <a:gd name="connsiteY2" fmla="*/ 762000 h 1651001"/>
              <a:gd name="connsiteX3" fmla="*/ 13240 w 13240"/>
              <a:gd name="connsiteY3" fmla="*/ 825500 h 1651001"/>
              <a:gd name="connsiteX4" fmla="*/ 8826 w 13240"/>
              <a:gd name="connsiteY4" fmla="*/ 889000 h 1651001"/>
              <a:gd name="connsiteX5" fmla="*/ 8826 w 13240"/>
              <a:gd name="connsiteY5" fmla="*/ 1651001 h 1651001"/>
              <a:gd name="connsiteX6" fmla="*/ 0 w 13240"/>
              <a:gd name="connsiteY6" fmla="*/ 1651001 h 1651001"/>
              <a:gd name="connsiteX0" fmla="*/ 0 w 83612"/>
              <a:gd name="connsiteY0" fmla="*/ 0 h 5119150"/>
              <a:gd name="connsiteX1" fmla="*/ 79198 w 83612"/>
              <a:gd name="connsiteY1" fmla="*/ 3468149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79198 w 83612"/>
              <a:gd name="connsiteY2" fmla="*/ 4230149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83612"/>
              <a:gd name="connsiteY0" fmla="*/ 0 h 5119150"/>
              <a:gd name="connsiteX1" fmla="*/ 1372 w 83612"/>
              <a:gd name="connsiteY1" fmla="*/ 0 h 5119150"/>
              <a:gd name="connsiteX2" fmla="*/ 1372 w 83612"/>
              <a:gd name="connsiteY2" fmla="*/ 762000 h 5119150"/>
              <a:gd name="connsiteX3" fmla="*/ 83612 w 83612"/>
              <a:gd name="connsiteY3" fmla="*/ 4293649 h 5119150"/>
              <a:gd name="connsiteX4" fmla="*/ 79198 w 83612"/>
              <a:gd name="connsiteY4" fmla="*/ 4357149 h 5119150"/>
              <a:gd name="connsiteX5" fmla="*/ 79198 w 83612"/>
              <a:gd name="connsiteY5" fmla="*/ 5119150 h 5119150"/>
              <a:gd name="connsiteX6" fmla="*/ 70372 w 83612"/>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79198 w 79198"/>
              <a:gd name="connsiteY4" fmla="*/ 4357149 h 5119150"/>
              <a:gd name="connsiteX5" fmla="*/ 79198 w 79198"/>
              <a:gd name="connsiteY5" fmla="*/ 5119150 h 5119150"/>
              <a:gd name="connsiteX6" fmla="*/ 70372 w 79198"/>
              <a:gd name="connsiteY6" fmla="*/ 5119150 h 5119150"/>
              <a:gd name="connsiteX0" fmla="*/ 0 w 79198"/>
              <a:gd name="connsiteY0" fmla="*/ 0 h 5119150"/>
              <a:gd name="connsiteX1" fmla="*/ 1372 w 79198"/>
              <a:gd name="connsiteY1" fmla="*/ 0 h 5119150"/>
              <a:gd name="connsiteX2" fmla="*/ 1372 w 79198"/>
              <a:gd name="connsiteY2" fmla="*/ 762000 h 5119150"/>
              <a:gd name="connsiteX3" fmla="*/ 2058 w 79198"/>
              <a:gd name="connsiteY3" fmla="*/ 825500 h 5119150"/>
              <a:gd name="connsiteX4" fmla="*/ 1372 w 79198"/>
              <a:gd name="connsiteY4" fmla="*/ 889000 h 5119150"/>
              <a:gd name="connsiteX5" fmla="*/ 79198 w 79198"/>
              <a:gd name="connsiteY5" fmla="*/ 5119150 h 5119150"/>
              <a:gd name="connsiteX6" fmla="*/ 70372 w 79198"/>
              <a:gd name="connsiteY6" fmla="*/ 5119150 h 5119150"/>
              <a:gd name="connsiteX0" fmla="*/ 0 w 70372"/>
              <a:gd name="connsiteY0" fmla="*/ 0 h 5119150"/>
              <a:gd name="connsiteX1" fmla="*/ 1372 w 70372"/>
              <a:gd name="connsiteY1" fmla="*/ 0 h 5119150"/>
              <a:gd name="connsiteX2" fmla="*/ 1372 w 70372"/>
              <a:gd name="connsiteY2" fmla="*/ 762000 h 5119150"/>
              <a:gd name="connsiteX3" fmla="*/ 2058 w 70372"/>
              <a:gd name="connsiteY3" fmla="*/ 825500 h 5119150"/>
              <a:gd name="connsiteX4" fmla="*/ 1372 w 70372"/>
              <a:gd name="connsiteY4" fmla="*/ 889000 h 5119150"/>
              <a:gd name="connsiteX5" fmla="*/ 1372 w 70372"/>
              <a:gd name="connsiteY5" fmla="*/ 1651001 h 5119150"/>
              <a:gd name="connsiteX6" fmla="*/ 70372 w 70372"/>
              <a:gd name="connsiteY6" fmla="*/ 5119150 h 5119150"/>
              <a:gd name="connsiteX0" fmla="*/ 0 w 2058"/>
              <a:gd name="connsiteY0" fmla="*/ 0 h 1651001"/>
              <a:gd name="connsiteX1" fmla="*/ 1372 w 2058"/>
              <a:gd name="connsiteY1" fmla="*/ 0 h 1651001"/>
              <a:gd name="connsiteX2" fmla="*/ 1372 w 2058"/>
              <a:gd name="connsiteY2" fmla="*/ 762000 h 1651001"/>
              <a:gd name="connsiteX3" fmla="*/ 2058 w 2058"/>
              <a:gd name="connsiteY3" fmla="*/ 825500 h 1651001"/>
              <a:gd name="connsiteX4" fmla="*/ 1372 w 2058"/>
              <a:gd name="connsiteY4" fmla="*/ 889000 h 1651001"/>
              <a:gd name="connsiteX5" fmla="*/ 1372 w 2058"/>
              <a:gd name="connsiteY5" fmla="*/ 1651001 h 1651001"/>
              <a:gd name="connsiteX6" fmla="*/ 0 w 2058"/>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8" h="1651001">
                <a:moveTo>
                  <a:pt x="0" y="0"/>
                </a:moveTo>
                <a:lnTo>
                  <a:pt x="1372" y="0"/>
                </a:lnTo>
                <a:lnTo>
                  <a:pt x="1372" y="762000"/>
                </a:lnTo>
                <a:lnTo>
                  <a:pt x="2058" y="825500"/>
                </a:lnTo>
                <a:lnTo>
                  <a:pt x="1372" y="889000"/>
                </a:lnTo>
                <a:lnTo>
                  <a:pt x="1372"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p>
        </p:txBody>
      </p:sp>
      <p:sp>
        <p:nvSpPr>
          <p:cNvPr id="77" name="SingleChevron" hidden="1">
            <a:extLst>
              <a:ext uri="{FF2B5EF4-FFF2-40B4-BE49-F238E27FC236}">
                <a16:creationId xmlns:a16="http://schemas.microsoft.com/office/drawing/2014/main" id="{E60D77BD-A62E-4CA5-9A51-C84D751936C2}"/>
              </a:ext>
            </a:extLst>
          </p:cNvPr>
          <p:cNvSpPr>
            <a:spLocks noChangeAspect="1"/>
          </p:cNvSpPr>
          <p:nvPr userDrawn="1">
            <p:custDataLst>
              <p:tags r:id="rId12"/>
            </p:custDataLst>
          </p:nvPr>
        </p:nvSpPr>
        <p:spPr bwMode="gray">
          <a:xfrm>
            <a:off x="3830992" y="4433899"/>
            <a:ext cx="666750" cy="15240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nvGrpSpPr>
          <p:cNvPr id="78" name="DoubleChevron2" hidden="1">
            <a:extLst>
              <a:ext uri="{FF2B5EF4-FFF2-40B4-BE49-F238E27FC236}">
                <a16:creationId xmlns:a16="http://schemas.microsoft.com/office/drawing/2014/main" id="{6FEDCEFE-A08D-4C06-BC80-77EA60DD4826}"/>
              </a:ext>
            </a:extLst>
          </p:cNvPr>
          <p:cNvGrpSpPr>
            <a:grpSpLocks noChangeAspect="1"/>
          </p:cNvGrpSpPr>
          <p:nvPr userDrawn="1">
            <p:custDataLst>
              <p:tags r:id="rId13"/>
            </p:custDataLst>
          </p:nvPr>
        </p:nvGrpSpPr>
        <p:grpSpPr bwMode="gray">
          <a:xfrm>
            <a:off x="5099495" y="4433899"/>
            <a:ext cx="1242929" cy="1524000"/>
            <a:chOff x="1270000" y="1270000"/>
            <a:chExt cx="2951957" cy="3619500"/>
          </a:xfrm>
          <a:solidFill>
            <a:schemeClr val="accent1"/>
          </a:solidFill>
        </p:grpSpPr>
        <p:sp>
          <p:nvSpPr>
            <p:cNvPr id="79" name="Chevron1">
              <a:extLst>
                <a:ext uri="{FF2B5EF4-FFF2-40B4-BE49-F238E27FC236}">
                  <a16:creationId xmlns:a16="http://schemas.microsoft.com/office/drawing/2014/main" id="{17C1E408-1553-434A-BFC7-03A76C8F21A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0" name="Chevron2">
              <a:extLst>
                <a:ext uri="{FF2B5EF4-FFF2-40B4-BE49-F238E27FC236}">
                  <a16:creationId xmlns:a16="http://schemas.microsoft.com/office/drawing/2014/main" id="{D2E4BF40-AD8C-4178-90D0-BDAB2DF6E5D1}"/>
                </a:ext>
              </a:extLst>
            </p:cNvPr>
            <p:cNvSpPr>
              <a:spLocks noChangeAspect="1"/>
            </p:cNvSpPr>
            <p:nvPr>
              <p:custDataLst>
                <p:tags r:id="rId39"/>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1" name="DoubleChevron" hidden="1">
            <a:extLst>
              <a:ext uri="{FF2B5EF4-FFF2-40B4-BE49-F238E27FC236}">
                <a16:creationId xmlns:a16="http://schemas.microsoft.com/office/drawing/2014/main" id="{B319772F-A619-4A37-8835-3FEA1A1C0AA9}"/>
              </a:ext>
            </a:extLst>
          </p:cNvPr>
          <p:cNvGrpSpPr>
            <a:grpSpLocks noChangeAspect="1"/>
          </p:cNvGrpSpPr>
          <p:nvPr userDrawn="1">
            <p:custDataLst>
              <p:tags r:id="rId14"/>
            </p:custDataLst>
          </p:nvPr>
        </p:nvGrpSpPr>
        <p:grpSpPr bwMode="gray">
          <a:xfrm>
            <a:off x="4291454" y="4433899"/>
            <a:ext cx="1014329" cy="1524000"/>
            <a:chOff x="1270000" y="1270000"/>
            <a:chExt cx="2409032" cy="3619500"/>
          </a:xfrm>
          <a:solidFill>
            <a:schemeClr val="accent1"/>
          </a:solidFill>
        </p:grpSpPr>
        <p:sp>
          <p:nvSpPr>
            <p:cNvPr id="82" name="Chevron1">
              <a:extLst>
                <a:ext uri="{FF2B5EF4-FFF2-40B4-BE49-F238E27FC236}">
                  <a16:creationId xmlns:a16="http://schemas.microsoft.com/office/drawing/2014/main" id="{57EB4BB7-8511-4ADB-82EA-76355A311A60}"/>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sp>
          <p:nvSpPr>
            <p:cNvPr id="83" name="Chevron2">
              <a:extLst>
                <a:ext uri="{FF2B5EF4-FFF2-40B4-BE49-F238E27FC236}">
                  <a16:creationId xmlns:a16="http://schemas.microsoft.com/office/drawing/2014/main" id="{35C48D4F-1AEB-4DAE-854E-C9D344603263}"/>
                </a:ext>
              </a:extLst>
            </p:cNvPr>
            <p:cNvSpPr>
              <a:spLocks noChangeAspect="1"/>
            </p:cNvSpPr>
            <p:nvPr>
              <p:custDataLst>
                <p:tags r:id="rId38"/>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600">
                <a:solidFill>
                  <a:schemeClr val="tx1"/>
                </a:solidFill>
              </a:endParaRPr>
            </a:p>
          </p:txBody>
        </p:sp>
      </p:grpSp>
      <p:grpSp>
        <p:nvGrpSpPr>
          <p:cNvPr id="84" name="LegendBoxes" hidden="1">
            <a:extLst>
              <a:ext uri="{FF2B5EF4-FFF2-40B4-BE49-F238E27FC236}">
                <a16:creationId xmlns:a16="http://schemas.microsoft.com/office/drawing/2014/main" id="{9C237DCA-10C7-4200-BCF1-5C9C0E72EDB0}"/>
              </a:ext>
            </a:extLst>
          </p:cNvPr>
          <p:cNvGrpSpPr>
            <a:grpSpLocks/>
          </p:cNvGrpSpPr>
          <p:nvPr userDrawn="1"/>
        </p:nvGrpSpPr>
        <p:grpSpPr bwMode="gray">
          <a:xfrm>
            <a:off x="10818613" y="1198769"/>
            <a:ext cx="763787" cy="996951"/>
            <a:chOff x="4936" y="176"/>
            <a:chExt cx="481" cy="628"/>
          </a:xfrm>
        </p:grpSpPr>
        <p:sp>
          <p:nvSpPr>
            <p:cNvPr id="85" name="Legend1">
              <a:extLst>
                <a:ext uri="{FF2B5EF4-FFF2-40B4-BE49-F238E27FC236}">
                  <a16:creationId xmlns:a16="http://schemas.microsoft.com/office/drawing/2014/main" id="{EB2D023B-B5E7-4C62-9412-E0CCE214D227}"/>
                </a:ext>
              </a:extLst>
            </p:cNvPr>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6" name="LegendRectangle1">
              <a:extLst>
                <a:ext uri="{FF2B5EF4-FFF2-40B4-BE49-F238E27FC236}">
                  <a16:creationId xmlns:a16="http://schemas.microsoft.com/office/drawing/2014/main" id="{DD2C6EC2-28D0-4B3C-A6B8-A280CBFE9EEE}"/>
                </a:ext>
              </a:extLst>
            </p:cNvPr>
            <p:cNvSpPr>
              <a:spLocks noChangeArrowheads="1"/>
            </p:cNvSpPr>
            <p:nvPr/>
          </p:nvSpPr>
          <p:spPr bwMode="gray">
            <a:xfrm>
              <a:off x="4936" y="182"/>
              <a:ext cx="104" cy="104"/>
            </a:xfrm>
            <a:prstGeom prst="rect">
              <a:avLst/>
            </a:prstGeom>
            <a:solidFill>
              <a:srgbClr val="57FF7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7" name="Legend2">
              <a:extLst>
                <a:ext uri="{FF2B5EF4-FFF2-40B4-BE49-F238E27FC236}">
                  <a16:creationId xmlns:a16="http://schemas.microsoft.com/office/drawing/2014/main" id="{013CDFD3-E919-4798-B18C-A575039245D5}"/>
                </a:ext>
              </a:extLst>
            </p:cNvPr>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88" name="LegendRectangle2">
              <a:extLst>
                <a:ext uri="{FF2B5EF4-FFF2-40B4-BE49-F238E27FC236}">
                  <a16:creationId xmlns:a16="http://schemas.microsoft.com/office/drawing/2014/main" id="{E5798A9D-0E96-40C8-8E58-080D48A7CD1D}"/>
                </a:ext>
              </a:extLst>
            </p:cNvPr>
            <p:cNvSpPr>
              <a:spLocks noChangeArrowheads="1"/>
            </p:cNvSpPr>
            <p:nvPr/>
          </p:nvSpPr>
          <p:spPr bwMode="gray">
            <a:xfrm>
              <a:off x="4936" y="352"/>
              <a:ext cx="104" cy="104"/>
            </a:xfrm>
            <a:prstGeom prst="rect">
              <a:avLst/>
            </a:prstGeom>
            <a:solidFill>
              <a:srgbClr val="1AB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89" name="Legend3">
              <a:extLst>
                <a:ext uri="{FF2B5EF4-FFF2-40B4-BE49-F238E27FC236}">
                  <a16:creationId xmlns:a16="http://schemas.microsoft.com/office/drawing/2014/main" id="{5D401F93-351C-4F43-A16E-949E06E55283}"/>
                </a:ext>
              </a:extLst>
            </p:cNvPr>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0" name="LegendRectangle3">
              <a:extLst>
                <a:ext uri="{FF2B5EF4-FFF2-40B4-BE49-F238E27FC236}">
                  <a16:creationId xmlns:a16="http://schemas.microsoft.com/office/drawing/2014/main" id="{18128B30-7107-4714-B19A-B97791A280B6}"/>
                </a:ext>
              </a:extLst>
            </p:cNvPr>
            <p:cNvSpPr>
              <a:spLocks noChangeArrowheads="1"/>
            </p:cNvSpPr>
            <p:nvPr/>
          </p:nvSpPr>
          <p:spPr bwMode="gray">
            <a:xfrm>
              <a:off x="4936" y="523"/>
              <a:ext cx="104" cy="104"/>
            </a:xfrm>
            <a:prstGeom prst="rect">
              <a:avLst/>
            </a:prstGeom>
            <a:solidFill>
              <a:srgbClr val="664D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91" name="Legend4">
              <a:extLst>
                <a:ext uri="{FF2B5EF4-FFF2-40B4-BE49-F238E27FC236}">
                  <a16:creationId xmlns:a16="http://schemas.microsoft.com/office/drawing/2014/main" id="{A20C8F97-B93B-4E1E-85BD-F963B3CC4CCC}"/>
                </a:ext>
              </a:extLst>
            </p:cNvPr>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2" name="LegendRectangle4">
              <a:extLst>
                <a:ext uri="{FF2B5EF4-FFF2-40B4-BE49-F238E27FC236}">
                  <a16:creationId xmlns:a16="http://schemas.microsoft.com/office/drawing/2014/main" id="{58194082-F22A-4D6C-BF90-2137D7493A4D}"/>
                </a:ext>
              </a:extLst>
            </p:cNvPr>
            <p:cNvSpPr>
              <a:spLocks noChangeArrowheads="1"/>
            </p:cNvSpPr>
            <p:nvPr/>
          </p:nvSpPr>
          <p:spPr bwMode="gray">
            <a:xfrm>
              <a:off x="4936" y="694"/>
              <a:ext cx="104" cy="104"/>
            </a:xfrm>
            <a:prstGeom prst="rect">
              <a:avLst/>
            </a:prstGeom>
            <a:solidFill>
              <a:srgbClr val="0D4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93" name="LegendLines" hidden="1">
            <a:extLst>
              <a:ext uri="{FF2B5EF4-FFF2-40B4-BE49-F238E27FC236}">
                <a16:creationId xmlns:a16="http://schemas.microsoft.com/office/drawing/2014/main" id="{80EA943C-A04B-4DFA-8E73-163E0B650A73}"/>
              </a:ext>
            </a:extLst>
          </p:cNvPr>
          <p:cNvGrpSpPr/>
          <p:nvPr userDrawn="1"/>
        </p:nvGrpSpPr>
        <p:grpSpPr bwMode="gray">
          <a:xfrm>
            <a:off x="10510558" y="1198769"/>
            <a:ext cx="1071842" cy="730251"/>
            <a:chOff x="7740638" y="619221"/>
            <a:chExt cx="1071842" cy="730251"/>
          </a:xfrm>
        </p:grpSpPr>
        <p:sp>
          <p:nvSpPr>
            <p:cNvPr id="94" name="LineLegend1">
              <a:extLst>
                <a:ext uri="{FF2B5EF4-FFF2-40B4-BE49-F238E27FC236}">
                  <a16:creationId xmlns:a16="http://schemas.microsoft.com/office/drawing/2014/main" id="{BE230623-0273-4B11-A460-045595F1852B}"/>
                </a:ext>
              </a:extLst>
            </p:cNvPr>
            <p:cNvSpPr>
              <a:spLocks noChangeShapeType="1"/>
            </p:cNvSpPr>
            <p:nvPr/>
          </p:nvSpPr>
          <p:spPr bwMode="gray">
            <a:xfrm>
              <a:off x="7740638" y="711296"/>
              <a:ext cx="457319" cy="0"/>
            </a:xfrm>
            <a:prstGeom prst="line">
              <a:avLst/>
            </a:prstGeom>
            <a:noFill/>
            <a:ln w="28575">
              <a:solidFill>
                <a:srgbClr val="0D40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5" name="LineLegend2">
              <a:extLst>
                <a:ext uri="{FF2B5EF4-FFF2-40B4-BE49-F238E27FC236}">
                  <a16:creationId xmlns:a16="http://schemas.microsoft.com/office/drawing/2014/main" id="{1A0431A9-E5D0-4632-8BC7-9F196B4F9A19}"/>
                </a:ext>
              </a:extLst>
            </p:cNvPr>
            <p:cNvSpPr>
              <a:spLocks noChangeShapeType="1"/>
            </p:cNvSpPr>
            <p:nvPr/>
          </p:nvSpPr>
          <p:spPr bwMode="gray">
            <a:xfrm>
              <a:off x="7740638" y="984347"/>
              <a:ext cx="457319" cy="0"/>
            </a:xfrm>
            <a:prstGeom prst="line">
              <a:avLst/>
            </a:prstGeom>
            <a:noFill/>
            <a:ln w="28575">
              <a:solidFill>
                <a:srgbClr val="0D40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6" name="LineLegend3">
              <a:extLst>
                <a:ext uri="{FF2B5EF4-FFF2-40B4-BE49-F238E27FC236}">
                  <a16:creationId xmlns:a16="http://schemas.microsoft.com/office/drawing/2014/main" id="{A5D065B3-FD8E-46B0-95C2-F0D7722BA859}"/>
                </a:ext>
              </a:extLst>
            </p:cNvPr>
            <p:cNvSpPr>
              <a:spLocks noChangeShapeType="1"/>
            </p:cNvSpPr>
            <p:nvPr/>
          </p:nvSpPr>
          <p:spPr bwMode="gray">
            <a:xfrm>
              <a:off x="7740638" y="1257397"/>
              <a:ext cx="457319" cy="0"/>
            </a:xfrm>
            <a:prstGeom prst="line">
              <a:avLst/>
            </a:prstGeom>
            <a:noFill/>
            <a:ln w="28575">
              <a:solidFill>
                <a:srgbClr val="0D40F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noProof="0">
                <a:latin typeface="+mn-lt"/>
              </a:endParaRPr>
            </a:p>
          </p:txBody>
        </p:sp>
        <p:sp>
          <p:nvSpPr>
            <p:cNvPr id="97" name="Legend1">
              <a:extLst>
                <a:ext uri="{FF2B5EF4-FFF2-40B4-BE49-F238E27FC236}">
                  <a16:creationId xmlns:a16="http://schemas.microsoft.com/office/drawing/2014/main" id="{44632945-4752-4575-92CD-9378CE02E679}"/>
                </a:ext>
              </a:extLst>
            </p:cNvPr>
            <p:cNvSpPr>
              <a:spLocks noChangeArrowheads="1"/>
            </p:cNvSpPr>
            <p:nvPr/>
          </p:nvSpPr>
          <p:spPr bwMode="gray">
            <a:xfrm>
              <a:off x="8302760" y="619221"/>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8" name="Legend2">
              <a:extLst>
                <a:ext uri="{FF2B5EF4-FFF2-40B4-BE49-F238E27FC236}">
                  <a16:creationId xmlns:a16="http://schemas.microsoft.com/office/drawing/2014/main" id="{0E606291-8B72-47A8-9122-CF6D12F129C4}"/>
                </a:ext>
              </a:extLst>
            </p:cNvPr>
            <p:cNvSpPr>
              <a:spLocks noChangeArrowheads="1"/>
            </p:cNvSpPr>
            <p:nvPr/>
          </p:nvSpPr>
          <p:spPr bwMode="gray">
            <a:xfrm>
              <a:off x="8302760" y="89227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99" name="Legend3">
              <a:extLst>
                <a:ext uri="{FF2B5EF4-FFF2-40B4-BE49-F238E27FC236}">
                  <a16:creationId xmlns:a16="http://schemas.microsoft.com/office/drawing/2014/main" id="{0918CFAB-B8D5-4A37-919D-807A700B2DE8}"/>
                </a:ext>
              </a:extLst>
            </p:cNvPr>
            <p:cNvSpPr>
              <a:spLocks noChangeArrowheads="1"/>
            </p:cNvSpPr>
            <p:nvPr/>
          </p:nvSpPr>
          <p:spPr bwMode="gray">
            <a:xfrm>
              <a:off x="8302760" y="1165322"/>
              <a:ext cx="509720"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grpSp>
        <p:nvGrpSpPr>
          <p:cNvPr id="104" name="LegendMoons" hidden="1">
            <a:extLst>
              <a:ext uri="{FF2B5EF4-FFF2-40B4-BE49-F238E27FC236}">
                <a16:creationId xmlns:a16="http://schemas.microsoft.com/office/drawing/2014/main" id="{C829E7EF-CC67-457B-9EEF-6A378FFD1079}"/>
              </a:ext>
            </a:extLst>
          </p:cNvPr>
          <p:cNvGrpSpPr/>
          <p:nvPr userDrawn="1"/>
        </p:nvGrpSpPr>
        <p:grpSpPr bwMode="gray">
          <a:xfrm>
            <a:off x="10751754" y="1198769"/>
            <a:ext cx="830646" cy="1306516"/>
            <a:chOff x="7769225" y="2105025"/>
            <a:chExt cx="830430" cy="1306516"/>
          </a:xfrm>
        </p:grpSpPr>
        <p:grpSp>
          <p:nvGrpSpPr>
            <p:cNvPr id="105" name="MoonLegend1">
              <a:extLst>
                <a:ext uri="{FF2B5EF4-FFF2-40B4-BE49-F238E27FC236}">
                  <a16:creationId xmlns:a16="http://schemas.microsoft.com/office/drawing/2014/main" id="{B02195D6-4668-4949-8940-FC2F57B12647}"/>
                </a:ext>
              </a:extLst>
            </p:cNvPr>
            <p:cNvGrpSpPr>
              <a:grpSpLocks noChangeAspect="1"/>
            </p:cNvGrpSpPr>
            <p:nvPr>
              <p:custDataLst>
                <p:tags r:id="rId23"/>
              </p:custDataLst>
            </p:nvPr>
          </p:nvGrpSpPr>
          <p:grpSpPr bwMode="gray">
            <a:xfrm>
              <a:off x="7769225" y="2105025"/>
              <a:ext cx="209550" cy="209551"/>
              <a:chOff x="4533" y="183"/>
              <a:chExt cx="144" cy="144"/>
            </a:xfrm>
          </p:grpSpPr>
          <p:sp>
            <p:nvSpPr>
              <p:cNvPr id="164" name="Oval 38">
                <a:extLst>
                  <a:ext uri="{FF2B5EF4-FFF2-40B4-BE49-F238E27FC236}">
                    <a16:creationId xmlns:a16="http://schemas.microsoft.com/office/drawing/2014/main" id="{A64A4B67-409D-4208-906B-DCBE7861669D}"/>
                  </a:ext>
                </a:extLst>
              </p:cNvPr>
              <p:cNvSpPr>
                <a:spLocks noChangeAspect="1" noChangeArrowheads="1"/>
              </p:cNvSpPr>
              <p:nvPr>
                <p:custDataLst>
                  <p:tags r:id="rId36"/>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5" name="Arc 39">
                <a:extLst>
                  <a:ext uri="{FF2B5EF4-FFF2-40B4-BE49-F238E27FC236}">
                    <a16:creationId xmlns:a16="http://schemas.microsoft.com/office/drawing/2014/main" id="{432F22D4-8614-4B11-A7CE-977E19115605}"/>
                  </a:ext>
                </a:extLst>
              </p:cNvPr>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6" name="MoonLegend2">
              <a:extLst>
                <a:ext uri="{FF2B5EF4-FFF2-40B4-BE49-F238E27FC236}">
                  <a16:creationId xmlns:a16="http://schemas.microsoft.com/office/drawing/2014/main" id="{341E0ABE-78F9-4703-B875-5F848FAA5F64}"/>
                </a:ext>
              </a:extLst>
            </p:cNvPr>
            <p:cNvGrpSpPr>
              <a:grpSpLocks noChangeAspect="1"/>
            </p:cNvGrpSpPr>
            <p:nvPr>
              <p:custDataLst>
                <p:tags r:id="rId24"/>
              </p:custDataLst>
            </p:nvPr>
          </p:nvGrpSpPr>
          <p:grpSpPr bwMode="gray">
            <a:xfrm>
              <a:off x="7769225" y="2379266"/>
              <a:ext cx="209550" cy="209551"/>
              <a:chOff x="1694" y="2044"/>
              <a:chExt cx="160" cy="160"/>
            </a:xfrm>
          </p:grpSpPr>
          <p:sp>
            <p:nvSpPr>
              <p:cNvPr id="162" name="Oval 41">
                <a:extLst>
                  <a:ext uri="{FF2B5EF4-FFF2-40B4-BE49-F238E27FC236}">
                    <a16:creationId xmlns:a16="http://schemas.microsoft.com/office/drawing/2014/main" id="{6D49FD37-5960-4AAE-9CD4-46766F747049}"/>
                  </a:ext>
                </a:extLst>
              </p:cNvPr>
              <p:cNvSpPr>
                <a:spLocks noChangeAspect="1" noChangeArrowheads="1"/>
              </p:cNvSpPr>
              <p:nvPr>
                <p:custDataLst>
                  <p:tags r:id="rId34"/>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3" name="Arc 42">
                <a:extLst>
                  <a:ext uri="{FF2B5EF4-FFF2-40B4-BE49-F238E27FC236}">
                    <a16:creationId xmlns:a16="http://schemas.microsoft.com/office/drawing/2014/main" id="{1DC626E1-90DA-4F0E-BD7D-C9C4F7FA287F}"/>
                  </a:ext>
                </a:extLst>
              </p:cNvPr>
              <p:cNvSpPr>
                <a:spLocks noChangeAspect="1"/>
              </p:cNvSpPr>
              <p:nvPr>
                <p:custDataLst>
                  <p:tags r:id="rId35"/>
                </p:custDataLst>
              </p:nvPr>
            </p:nvSpPr>
            <p:spPr bwMode="gray">
              <a:xfrm>
                <a:off x="1694" y="2044"/>
                <a:ext cx="160" cy="160"/>
              </a:xfrm>
              <a:prstGeom prst="arc">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07" name="MoonLegend4">
              <a:extLst>
                <a:ext uri="{FF2B5EF4-FFF2-40B4-BE49-F238E27FC236}">
                  <a16:creationId xmlns:a16="http://schemas.microsoft.com/office/drawing/2014/main" id="{56F66714-4CF0-4E82-99F4-E4DF559D56CA}"/>
                </a:ext>
              </a:extLst>
            </p:cNvPr>
            <p:cNvGrpSpPr>
              <a:grpSpLocks noChangeAspect="1"/>
            </p:cNvGrpSpPr>
            <p:nvPr>
              <p:custDataLst>
                <p:tags r:id="rId25"/>
              </p:custDataLst>
            </p:nvPr>
          </p:nvGrpSpPr>
          <p:grpSpPr bwMode="gray">
            <a:xfrm>
              <a:off x="7769225" y="2927748"/>
              <a:ext cx="209550" cy="209551"/>
              <a:chOff x="4495" y="1198"/>
              <a:chExt cx="160" cy="160"/>
            </a:xfrm>
          </p:grpSpPr>
          <p:sp>
            <p:nvSpPr>
              <p:cNvPr id="160" name="Oval 47">
                <a:extLst>
                  <a:ext uri="{FF2B5EF4-FFF2-40B4-BE49-F238E27FC236}">
                    <a16:creationId xmlns:a16="http://schemas.microsoft.com/office/drawing/2014/main" id="{283049F2-B359-4AC2-BD07-0016597D24C7}"/>
                  </a:ext>
                </a:extLst>
              </p:cNvPr>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61" name="Arc 48">
                <a:extLst>
                  <a:ext uri="{FF2B5EF4-FFF2-40B4-BE49-F238E27FC236}">
                    <a16:creationId xmlns:a16="http://schemas.microsoft.com/office/drawing/2014/main" id="{6E1879E5-F86D-4196-B5E0-0591FC08FF43}"/>
                  </a:ext>
                </a:extLst>
              </p:cNvPr>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nvGrpSpPr>
            <p:cNvPr id="112" name="MoonLegend5">
              <a:extLst>
                <a:ext uri="{FF2B5EF4-FFF2-40B4-BE49-F238E27FC236}">
                  <a16:creationId xmlns:a16="http://schemas.microsoft.com/office/drawing/2014/main" id="{3AB58AD0-F400-4E67-A3C4-C3AEC77B7897}"/>
                </a:ext>
              </a:extLst>
            </p:cNvPr>
            <p:cNvGrpSpPr>
              <a:grpSpLocks noChangeAspect="1"/>
            </p:cNvGrpSpPr>
            <p:nvPr>
              <p:custDataLst>
                <p:tags r:id="rId26"/>
              </p:custDataLst>
            </p:nvPr>
          </p:nvGrpSpPr>
          <p:grpSpPr bwMode="gray">
            <a:xfrm>
              <a:off x="7769225" y="3201990"/>
              <a:ext cx="209550" cy="209551"/>
              <a:chOff x="4495" y="1440"/>
              <a:chExt cx="160" cy="160"/>
            </a:xfrm>
          </p:grpSpPr>
          <p:sp>
            <p:nvSpPr>
              <p:cNvPr id="158" name="Oval 50">
                <a:extLst>
                  <a:ext uri="{FF2B5EF4-FFF2-40B4-BE49-F238E27FC236}">
                    <a16:creationId xmlns:a16="http://schemas.microsoft.com/office/drawing/2014/main" id="{7D0BD859-886A-435B-8351-55523200DC87}"/>
                  </a:ext>
                </a:extLst>
              </p:cNvPr>
              <p:cNvSpPr>
                <a:spLocks noChangeAspect="1" noChangeArrowheads="1"/>
              </p:cNvSpPr>
              <p:nvPr>
                <p:custDataLst>
                  <p:tags r:id="rId30"/>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9" name="Oval 51">
                <a:extLst>
                  <a:ext uri="{FF2B5EF4-FFF2-40B4-BE49-F238E27FC236}">
                    <a16:creationId xmlns:a16="http://schemas.microsoft.com/office/drawing/2014/main" id="{F61A0703-EE33-4394-9860-CEDC1CECFDAD}"/>
                  </a:ext>
                </a:extLst>
              </p:cNvPr>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sp>
          <p:nvSpPr>
            <p:cNvPr id="150" name="Legend1">
              <a:extLst>
                <a:ext uri="{FF2B5EF4-FFF2-40B4-BE49-F238E27FC236}">
                  <a16:creationId xmlns:a16="http://schemas.microsoft.com/office/drawing/2014/main" id="{0DB0EFEB-8498-4E58-9711-0647C320BAF1}"/>
                </a:ext>
              </a:extLst>
            </p:cNvPr>
            <p:cNvSpPr>
              <a:spLocks noChangeArrowheads="1"/>
            </p:cNvSpPr>
            <p:nvPr/>
          </p:nvSpPr>
          <p:spPr bwMode="gray">
            <a:xfrm>
              <a:off x="8089900" y="211746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1" name="Legend2">
              <a:extLst>
                <a:ext uri="{FF2B5EF4-FFF2-40B4-BE49-F238E27FC236}">
                  <a16:creationId xmlns:a16="http://schemas.microsoft.com/office/drawing/2014/main" id="{E0E69328-68E8-48A8-BA50-389CF79224B5}"/>
                </a:ext>
              </a:extLst>
            </p:cNvPr>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2" name="Legend3">
              <a:extLst>
                <a:ext uri="{FF2B5EF4-FFF2-40B4-BE49-F238E27FC236}">
                  <a16:creationId xmlns:a16="http://schemas.microsoft.com/office/drawing/2014/main" id="{23FFB7E6-2148-4F7D-8D6B-D7B0328C8AE9}"/>
                </a:ext>
              </a:extLst>
            </p:cNvPr>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3" name="Legend4">
              <a:extLst>
                <a:ext uri="{FF2B5EF4-FFF2-40B4-BE49-F238E27FC236}">
                  <a16:creationId xmlns:a16="http://schemas.microsoft.com/office/drawing/2014/main" id="{2B20045F-AD8B-400F-BC8E-6120D380B904}"/>
                </a:ext>
              </a:extLst>
            </p:cNvPr>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sp>
          <p:nvSpPr>
            <p:cNvPr id="154" name="Legend5">
              <a:extLst>
                <a:ext uri="{FF2B5EF4-FFF2-40B4-BE49-F238E27FC236}">
                  <a16:creationId xmlns:a16="http://schemas.microsoft.com/office/drawing/2014/main" id="{3E11B994-B418-41EF-AED8-4FCB5B085F28}"/>
                </a:ext>
              </a:extLst>
            </p:cNvPr>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noProof="0">
                  <a:latin typeface="+mn-lt"/>
                </a:rPr>
                <a:t>Legend</a:t>
              </a:r>
            </a:p>
          </p:txBody>
        </p:sp>
        <p:grpSp>
          <p:nvGrpSpPr>
            <p:cNvPr id="155" name="MoonLegend3">
              <a:extLst>
                <a:ext uri="{FF2B5EF4-FFF2-40B4-BE49-F238E27FC236}">
                  <a16:creationId xmlns:a16="http://schemas.microsoft.com/office/drawing/2014/main" id="{11F36171-C8F9-44BA-82CF-6E783564D2A1}"/>
                </a:ext>
              </a:extLst>
            </p:cNvPr>
            <p:cNvGrpSpPr>
              <a:grpSpLocks noChangeAspect="1"/>
            </p:cNvGrpSpPr>
            <p:nvPr>
              <p:custDataLst>
                <p:tags r:id="rId27"/>
              </p:custDataLst>
            </p:nvPr>
          </p:nvGrpSpPr>
          <p:grpSpPr bwMode="gray">
            <a:xfrm>
              <a:off x="7769225" y="2653507"/>
              <a:ext cx="209550" cy="209551"/>
              <a:chOff x="4495" y="1198"/>
              <a:chExt cx="160" cy="160"/>
            </a:xfrm>
          </p:grpSpPr>
          <p:sp>
            <p:nvSpPr>
              <p:cNvPr id="156" name="Oval 47">
                <a:extLst>
                  <a:ext uri="{FF2B5EF4-FFF2-40B4-BE49-F238E27FC236}">
                    <a16:creationId xmlns:a16="http://schemas.microsoft.com/office/drawing/2014/main" id="{A2408FFE-C82E-472A-892F-C5C0581AFD1E}"/>
                  </a:ext>
                </a:extLst>
              </p:cNvPr>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sp>
            <p:nvSpPr>
              <p:cNvPr id="157" name="Arc 48">
                <a:extLst>
                  <a:ext uri="{FF2B5EF4-FFF2-40B4-BE49-F238E27FC236}">
                    <a16:creationId xmlns:a16="http://schemas.microsoft.com/office/drawing/2014/main" id="{0470043B-DF7A-49CE-BEEC-126FE1B402EE}"/>
                  </a:ext>
                </a:extLst>
              </p:cNvPr>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rgbClr val="0D40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noProof="0">
                  <a:latin typeface="+mn-lt"/>
                </a:endParaRPr>
              </a:p>
            </p:txBody>
          </p:sp>
        </p:grpSp>
      </p:grpSp>
      <p:grpSp>
        <p:nvGrpSpPr>
          <p:cNvPr id="166" name="Moon" hidden="1">
            <a:extLst>
              <a:ext uri="{FF2B5EF4-FFF2-40B4-BE49-F238E27FC236}">
                <a16:creationId xmlns:a16="http://schemas.microsoft.com/office/drawing/2014/main" id="{730B6F2A-7178-45B9-AC76-832A248C1E92}"/>
              </a:ext>
            </a:extLst>
          </p:cNvPr>
          <p:cNvGrpSpPr/>
          <p:nvPr userDrawn="1">
            <p:custDataLst>
              <p:tags r:id="rId15"/>
            </p:custDataLst>
          </p:nvPr>
        </p:nvGrpSpPr>
        <p:grpSpPr bwMode="gray">
          <a:xfrm>
            <a:off x="11328334" y="2420259"/>
            <a:ext cx="254066" cy="254000"/>
            <a:chOff x="762000" y="1270000"/>
            <a:chExt cx="254000" cy="254000"/>
          </a:xfrm>
        </p:grpSpPr>
        <p:sp>
          <p:nvSpPr>
            <p:cNvPr id="167" name="Oval 166">
              <a:extLst>
                <a:ext uri="{FF2B5EF4-FFF2-40B4-BE49-F238E27FC236}">
                  <a16:creationId xmlns:a16="http://schemas.microsoft.com/office/drawing/2014/main" id="{ADAA1916-FD15-4D18-95EA-300F5F140AD1}"/>
                </a:ext>
              </a:extLst>
            </p:cNvPr>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mn-lt"/>
              </a:endParaRPr>
            </a:p>
          </p:txBody>
        </p:sp>
        <p:sp>
          <p:nvSpPr>
            <p:cNvPr id="168" name="Arc 167">
              <a:extLst>
                <a:ext uri="{FF2B5EF4-FFF2-40B4-BE49-F238E27FC236}">
                  <a16:creationId xmlns:a16="http://schemas.microsoft.com/office/drawing/2014/main" id="{5BA95C87-C554-4CF6-8F4E-C5DD023FCFFC}"/>
                </a:ext>
              </a:extLst>
            </p:cNvPr>
            <p:cNvSpPr/>
            <p:nvPr/>
          </p:nvSpPr>
          <p:spPr bwMode="gray">
            <a:xfrm>
              <a:off x="762000" y="1270000"/>
              <a:ext cx="254000" cy="254000"/>
            </a:xfrm>
            <a:prstGeom prst="arc">
              <a:avLst/>
            </a:prstGeom>
            <a:solidFill>
              <a:schemeClr val="accent6"/>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mn-lt"/>
              </a:endParaRPr>
            </a:p>
          </p:txBody>
        </p:sp>
      </p:grpSp>
      <p:grpSp>
        <p:nvGrpSpPr>
          <p:cNvPr id="113" name="SplitFlow" hidden="1">
            <a:extLst>
              <a:ext uri="{FF2B5EF4-FFF2-40B4-BE49-F238E27FC236}">
                <a16:creationId xmlns:a16="http://schemas.microsoft.com/office/drawing/2014/main" id="{DAE9ACD0-18BD-405A-8E4D-20D36BDA4FB0}"/>
              </a:ext>
            </a:extLst>
          </p:cNvPr>
          <p:cNvGrpSpPr>
            <a:grpSpLocks/>
          </p:cNvGrpSpPr>
          <p:nvPr userDrawn="1">
            <p:custDataLst>
              <p:tags r:id="rId16"/>
            </p:custDataLst>
          </p:nvPr>
        </p:nvGrpSpPr>
        <p:grpSpPr bwMode="gray">
          <a:xfrm>
            <a:off x="3953713" y="3395577"/>
            <a:ext cx="1829276" cy="914400"/>
            <a:chOff x="1003298" y="1257300"/>
            <a:chExt cx="1828804" cy="914400"/>
          </a:xfrm>
        </p:grpSpPr>
        <p:sp>
          <p:nvSpPr>
            <p:cNvPr id="114" name="Freeform: Shape 113">
              <a:extLst>
                <a:ext uri="{FF2B5EF4-FFF2-40B4-BE49-F238E27FC236}">
                  <a16:creationId xmlns:a16="http://schemas.microsoft.com/office/drawing/2014/main" id="{8DB29E77-7C19-4263-AAD5-BBF0EF0DBE87}"/>
                </a:ext>
              </a:extLst>
            </p:cNvPr>
            <p:cNvSpPr/>
            <p:nvPr>
              <p:custDataLst>
                <p:tags r:id="rId19"/>
              </p:custDataLst>
            </p:nvPr>
          </p:nvSpPr>
          <p:spPr bwMode="gray">
            <a:xfrm>
              <a:off x="1003298" y="1257300"/>
              <a:ext cx="1828804"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1"/>
                <a:gd name="connsiteY0" fmla="*/ 0 h 457200"/>
                <a:gd name="connsiteX1" fmla="*/ 1664209 w 1828801"/>
                <a:gd name="connsiteY1" fmla="*/ 0 h 457200"/>
                <a:gd name="connsiteX2" fmla="*/ 1828801 w 1828801"/>
                <a:gd name="connsiteY2" fmla="*/ 457200 h 457200"/>
                <a:gd name="connsiteX3" fmla="*/ 1 w 1828801"/>
                <a:gd name="connsiteY3" fmla="*/ 457200 h 457200"/>
                <a:gd name="connsiteX0" fmla="*/ 0 w 1828801"/>
                <a:gd name="connsiteY0" fmla="*/ 0 h 457200"/>
                <a:gd name="connsiteX1" fmla="*/ 1697128 w 1828801"/>
                <a:gd name="connsiteY1" fmla="*/ 0 h 457200"/>
                <a:gd name="connsiteX2" fmla="*/ 1828801 w 1828801"/>
                <a:gd name="connsiteY2" fmla="*/ 457200 h 457200"/>
                <a:gd name="connsiteX3" fmla="*/ 1 w 1828801"/>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97128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31674 w 1828802"/>
                <a:gd name="connsiteY3" fmla="*/ 457200 h 457200"/>
                <a:gd name="connsiteX0" fmla="*/ 0 w 1828802"/>
                <a:gd name="connsiteY0" fmla="*/ 0 h 457200"/>
                <a:gd name="connsiteX1" fmla="*/ 1664210 w 1828802"/>
                <a:gd name="connsiteY1" fmla="*/ 0 h 457200"/>
                <a:gd name="connsiteX2" fmla="*/ 1828802 w 1828802"/>
                <a:gd name="connsiteY2" fmla="*/ 457200 h 457200"/>
                <a:gd name="connsiteX3" fmla="*/ 164592 w 1828802"/>
                <a:gd name="connsiteY3" fmla="*/ 457200 h 457200"/>
                <a:gd name="connsiteX0" fmla="*/ 0 w 1828803"/>
                <a:gd name="connsiteY0" fmla="*/ 0 h 457200"/>
                <a:gd name="connsiteX1" fmla="*/ 1664211 w 1828803"/>
                <a:gd name="connsiteY1" fmla="*/ 0 h 457200"/>
                <a:gd name="connsiteX2" fmla="*/ 1828803 w 1828803"/>
                <a:gd name="connsiteY2" fmla="*/ 457200 h 457200"/>
                <a:gd name="connsiteX3" fmla="*/ 164593 w 1828803"/>
                <a:gd name="connsiteY3" fmla="*/ 457200 h 457200"/>
                <a:gd name="connsiteX0" fmla="*/ 0 w 1828803"/>
                <a:gd name="connsiteY0" fmla="*/ 0 h 457200"/>
                <a:gd name="connsiteX1" fmla="*/ 1664212 w 1828803"/>
                <a:gd name="connsiteY1" fmla="*/ 0 h 457200"/>
                <a:gd name="connsiteX2" fmla="*/ 1828803 w 1828803"/>
                <a:gd name="connsiteY2" fmla="*/ 457200 h 457200"/>
                <a:gd name="connsiteX3" fmla="*/ 164593 w 1828803"/>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164593 w 1828804"/>
                <a:gd name="connsiteY3" fmla="*/ 457200 h 457200"/>
                <a:gd name="connsiteX0" fmla="*/ 0 w 1828804"/>
                <a:gd name="connsiteY0" fmla="*/ 0 h 457200"/>
                <a:gd name="connsiteX1" fmla="*/ 1664212 w 1828804"/>
                <a:gd name="connsiteY1" fmla="*/ 0 h 457200"/>
                <a:gd name="connsiteX2" fmla="*/ 1828804 w 1828804"/>
                <a:gd name="connsiteY2" fmla="*/ 457200 h 457200"/>
                <a:gd name="connsiteX3" fmla="*/ 0 w 1828804"/>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4" h="457200">
                  <a:moveTo>
                    <a:pt x="0" y="0"/>
                  </a:moveTo>
                  <a:lnTo>
                    <a:pt x="1664212" y="0"/>
                  </a:lnTo>
                  <a:lnTo>
                    <a:pt x="1828804"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5" name="TextBox 114">
              <a:extLst>
                <a:ext uri="{FF2B5EF4-FFF2-40B4-BE49-F238E27FC236}">
                  <a16:creationId xmlns:a16="http://schemas.microsoft.com/office/drawing/2014/main" id="{623038F2-F472-4A50-A4EB-459EB326C243}"/>
                </a:ext>
              </a:extLst>
            </p:cNvPr>
            <p:cNvSpPr txBox="1"/>
            <p:nvPr>
              <p:custDataLst>
                <p:tags r:id="rId20"/>
              </p:custDataLst>
            </p:nvPr>
          </p:nvSpPr>
          <p:spPr bwMode="gray">
            <a:xfrm>
              <a:off x="1066798" y="13144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sp>
          <p:nvSpPr>
            <p:cNvPr id="116" name="Freeform: Shape 115">
              <a:extLst>
                <a:ext uri="{FF2B5EF4-FFF2-40B4-BE49-F238E27FC236}">
                  <a16:creationId xmlns:a16="http://schemas.microsoft.com/office/drawing/2014/main" id="{4D42C1EB-4340-443C-B175-AE72B466F2B6}"/>
                </a:ext>
              </a:extLst>
            </p:cNvPr>
            <p:cNvSpPr/>
            <p:nvPr>
              <p:custDataLst>
                <p:tags r:id="rId21"/>
              </p:custDataLst>
            </p:nvPr>
          </p:nvSpPr>
          <p:spPr bwMode="gray">
            <a:xfrm>
              <a:off x="1003298" y="1714500"/>
              <a:ext cx="1828803"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1828801 w 1828801"/>
                <a:gd name="connsiteY0" fmla="*/ 0 h 457200"/>
                <a:gd name="connsiteX1" fmla="*/ 832104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 w 1828801"/>
                <a:gd name="connsiteY3" fmla="*/ 0 h 457200"/>
                <a:gd name="connsiteX0" fmla="*/ 1828801 w 1828801"/>
                <a:gd name="connsiteY0" fmla="*/ 0 h 457200"/>
                <a:gd name="connsiteX1" fmla="*/ 1697127 w 1828801"/>
                <a:gd name="connsiteY1" fmla="*/ 457200 h 457200"/>
                <a:gd name="connsiteX2" fmla="*/ 0 w 1828801"/>
                <a:gd name="connsiteY2" fmla="*/ 457200 h 457200"/>
                <a:gd name="connsiteX3" fmla="*/ 131674 w 1828801"/>
                <a:gd name="connsiteY3" fmla="*/ 0 h 457200"/>
                <a:gd name="connsiteX0" fmla="*/ 1828802 w 1828802"/>
                <a:gd name="connsiteY0" fmla="*/ 0 h 457200"/>
                <a:gd name="connsiteX1" fmla="*/ 1697127 w 1828802"/>
                <a:gd name="connsiteY1" fmla="*/ 457200 h 457200"/>
                <a:gd name="connsiteX2" fmla="*/ 0 w 1828802"/>
                <a:gd name="connsiteY2" fmla="*/ 457200 h 457200"/>
                <a:gd name="connsiteX3" fmla="*/ 131674 w 1828802"/>
                <a:gd name="connsiteY3" fmla="*/ 0 h 457200"/>
                <a:gd name="connsiteX0" fmla="*/ 1828802 w 1828802"/>
                <a:gd name="connsiteY0" fmla="*/ 0 h 457200"/>
                <a:gd name="connsiteX1" fmla="*/ 1664209 w 1828802"/>
                <a:gd name="connsiteY1" fmla="*/ 457200 h 457200"/>
                <a:gd name="connsiteX2" fmla="*/ 0 w 1828802"/>
                <a:gd name="connsiteY2" fmla="*/ 457200 h 457200"/>
                <a:gd name="connsiteX3" fmla="*/ 131674 w 1828802"/>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31675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0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164593 w 1828803"/>
                <a:gd name="connsiteY3" fmla="*/ 0 h 457200"/>
                <a:gd name="connsiteX0" fmla="*/ 1828803 w 1828803"/>
                <a:gd name="connsiteY0" fmla="*/ 0 h 457200"/>
                <a:gd name="connsiteX1" fmla="*/ 1664211 w 1828803"/>
                <a:gd name="connsiteY1" fmla="*/ 457200 h 457200"/>
                <a:gd name="connsiteX2" fmla="*/ 0 w 1828803"/>
                <a:gd name="connsiteY2" fmla="*/ 457200 h 457200"/>
                <a:gd name="connsiteX3" fmla="*/ 0 w 1828803"/>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3" h="457200">
                  <a:moveTo>
                    <a:pt x="1828803" y="0"/>
                  </a:moveTo>
                  <a:lnTo>
                    <a:pt x="1664211"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sz="1600" err="1">
                <a:solidFill>
                  <a:schemeClr val="tx1"/>
                </a:solidFill>
              </a:endParaRPr>
            </a:p>
          </p:txBody>
        </p:sp>
        <p:sp>
          <p:nvSpPr>
            <p:cNvPr id="117" name="TextBox 116">
              <a:extLst>
                <a:ext uri="{FF2B5EF4-FFF2-40B4-BE49-F238E27FC236}">
                  <a16:creationId xmlns:a16="http://schemas.microsoft.com/office/drawing/2014/main" id="{10FFA3A3-8584-4767-9C27-09B55BC5F098}"/>
                </a:ext>
              </a:extLst>
            </p:cNvPr>
            <p:cNvSpPr txBox="1"/>
            <p:nvPr>
              <p:custDataLst>
                <p:tags r:id="rId22"/>
              </p:custDataLst>
            </p:nvPr>
          </p:nvSpPr>
          <p:spPr bwMode="gray">
            <a:xfrm>
              <a:off x="1066798" y="1771650"/>
              <a:ext cx="1600711" cy="342372"/>
            </a:xfrm>
            <a:prstGeom prst="rect">
              <a:avLst/>
            </a:prstGeom>
          </p:spPr>
          <p:txBody>
            <a:bodyPr vert="horz" wrap="square" lIns="0" tIns="0" rIns="0" bIns="0" rtlCol="0" anchor="ctr">
              <a:noAutofit/>
            </a:bodyPr>
            <a:lstStyle>
              <a:defPPr>
                <a:defRPr lang="en-US"/>
              </a:defPPr>
              <a:lvl1pPr marL="0" lvl="0" indent="0" defTabSz="913572" eaLnBrk="1" latinLnBrk="0" hangingPunct="1">
                <a:buClr>
                  <a:schemeClr val="tx1"/>
                </a:buClr>
                <a:buSzPct val="100000"/>
                <a:buFontTx/>
                <a:buNone/>
                <a:defRPr lang="x-none" sz="1600" baseline="0">
                  <a:latin typeface="+mn-lt"/>
                </a:defRPr>
              </a:lvl1pPr>
              <a:lvl2pPr marL="180000" lvl="1" indent="-180054" defTabSz="913572" eaLnBrk="1" latinLnBrk="0" hangingPunct="1">
                <a:buClr>
                  <a:schemeClr val="tx1"/>
                </a:buClr>
                <a:buSzPct val="100000"/>
                <a:buFont typeface="Arial" panose="020B0604020202020204" pitchFamily="34" charset="0"/>
                <a:buChar char="•"/>
                <a:defRPr lang="x-none" sz="1600" baseline="0">
                  <a:latin typeface="+mn-lt"/>
                </a:defRPr>
              </a:lvl2pPr>
              <a:lvl3pPr marL="365760" lvl="2" indent="-182880" defTabSz="913572" eaLnBrk="1" latinLnBrk="0" hangingPunct="1">
                <a:buClr>
                  <a:schemeClr val="tx1"/>
                </a:buClr>
                <a:buSzPct val="100000"/>
                <a:buFont typeface="Arial" panose="020B0604020202020204" pitchFamily="34" charset="0"/>
                <a:buChar char="–"/>
                <a:defRPr lang="x-none" sz="1600" baseline="0">
                  <a:latin typeface="+mn-lt"/>
                </a:defRPr>
              </a:lvl3pPr>
              <a:lvl4pPr marL="548640" lvl="3" indent="-182880" defTabSz="913572" eaLnBrk="1" latinLnBrk="0" hangingPunct="1">
                <a:buClr>
                  <a:schemeClr val="tx1"/>
                </a:buClr>
                <a:buSzPct val="100000"/>
                <a:buFont typeface="Arial" panose="020B0604020202020204" pitchFamily="34" charset="0"/>
                <a:buChar char="•"/>
                <a:defRPr lang="x-none" sz="1600" baseline="0">
                  <a:latin typeface="+mn-lt"/>
                </a:defRPr>
              </a:lvl4pPr>
              <a:lvl5pPr marL="731520" lvl="4" indent="-182880" defTabSz="913572" eaLnBrk="1" latinLnBrk="0" hangingPunct="1">
                <a:buClr>
                  <a:schemeClr val="tx1"/>
                </a:buClr>
                <a:buSzPct val="100000"/>
                <a:buFont typeface="Arial" panose="020B0604020202020204" pitchFamily="34" charset="0"/>
                <a:buChar char="–"/>
                <a:defRPr lang="x-none" sz="1600" baseline="0">
                  <a:latin typeface="+mn-lt"/>
                </a:defRPr>
              </a:lvl5pPr>
              <a:lvl6pPr marL="765067" indent="-132825" defTabSz="913572" fontAlgn="base">
                <a:spcBef>
                  <a:spcPct val="0"/>
                </a:spcBef>
                <a:spcAft>
                  <a:spcPct val="0"/>
                </a:spcAft>
                <a:buClr>
                  <a:schemeClr val="tx2"/>
                </a:buClr>
                <a:buSzPct val="89000"/>
                <a:buFont typeface="Arial" charset="0"/>
                <a:buChar char="-"/>
                <a:defRPr lang="x-none" sz="1632" baseline="0">
                  <a:latin typeface="+mn-lt"/>
                </a:defRPr>
              </a:lvl6pPr>
              <a:lvl7pPr marL="765067" indent="-132825" defTabSz="913572" fontAlgn="base">
                <a:spcBef>
                  <a:spcPct val="0"/>
                </a:spcBef>
                <a:spcAft>
                  <a:spcPct val="0"/>
                </a:spcAft>
                <a:buClr>
                  <a:schemeClr val="tx2"/>
                </a:buClr>
                <a:buSzPct val="89000"/>
                <a:buFont typeface="Arial" charset="0"/>
                <a:buChar char="-"/>
                <a:defRPr lang="x-none" sz="1632" baseline="0">
                  <a:latin typeface="+mn-lt"/>
                </a:defRPr>
              </a:lvl7pPr>
              <a:lvl8pPr marL="765067" indent="-132825" defTabSz="913572" fontAlgn="base">
                <a:spcBef>
                  <a:spcPct val="0"/>
                </a:spcBef>
                <a:spcAft>
                  <a:spcPct val="0"/>
                </a:spcAft>
                <a:buClr>
                  <a:schemeClr val="tx2"/>
                </a:buClr>
                <a:buSzPct val="89000"/>
                <a:buFont typeface="Arial" charset="0"/>
                <a:buChar char="-"/>
                <a:defRPr lang="x-none" sz="1632" baseline="0">
                  <a:latin typeface="+mn-lt"/>
                </a:defRPr>
              </a:lvl8pPr>
              <a:lvl9pPr marL="765067" indent="-132825" defTabSz="913572" fontAlgn="base">
                <a:spcBef>
                  <a:spcPct val="0"/>
                </a:spcBef>
                <a:spcAft>
                  <a:spcPct val="0"/>
                </a:spcAft>
                <a:buClr>
                  <a:schemeClr val="tx2"/>
                </a:buClr>
                <a:buSzPct val="89000"/>
                <a:buFont typeface="Arial" charset="0"/>
                <a:buChar char="-"/>
                <a:defRPr lang="x-none" sz="1632" baseline="0">
                  <a:latin typeface="+mn-lt"/>
                </a:defRPr>
              </a:lvl9pPr>
            </a:lstStyle>
            <a:p>
              <a:pPr lvl="0"/>
              <a:r>
                <a:rPr lang="de-DE" b="1"/>
                <a:t>Text</a:t>
              </a:r>
            </a:p>
          </p:txBody>
        </p:sp>
      </p:grpSp>
      <p:cxnSp>
        <p:nvCxnSpPr>
          <p:cNvPr id="120" name="Straight Connector 119">
            <a:extLst>
              <a:ext uri="{FF2B5EF4-FFF2-40B4-BE49-F238E27FC236}">
                <a16:creationId xmlns:a16="http://schemas.microsoft.com/office/drawing/2014/main" id="{B799070B-88AA-4A52-A805-8FACA4CEB80A}"/>
              </a:ext>
            </a:extLst>
          </p:cNvPr>
          <p:cNvCxnSpPr/>
          <p:nvPr userDrawn="1"/>
        </p:nvCxnSpPr>
        <p:spPr bwMode="gray">
          <a:xfrm>
            <a:off x="-12288" y="6021288"/>
            <a:ext cx="1220428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D325753B-7005-4D94-B1A9-7CE24D014491}"/>
              </a:ext>
            </a:extLst>
          </p:cNvPr>
          <p:cNvGrpSpPr/>
          <p:nvPr userDrawn="1"/>
        </p:nvGrpSpPr>
        <p:grpSpPr bwMode="gray">
          <a:xfrm>
            <a:off x="9066230" y="6150623"/>
            <a:ext cx="2515543" cy="569706"/>
            <a:chOff x="5525840" y="3530278"/>
            <a:chExt cx="1886657" cy="569706"/>
          </a:xfrm>
        </p:grpSpPr>
        <p:sp>
          <p:nvSpPr>
            <p:cNvPr id="122" name="TextBox 121">
              <a:extLst>
                <a:ext uri="{FF2B5EF4-FFF2-40B4-BE49-F238E27FC236}">
                  <a16:creationId xmlns:a16="http://schemas.microsoft.com/office/drawing/2014/main" id="{E0AA5ED3-46AD-4F22-8568-8B195C3CA02F}"/>
                </a:ext>
              </a:extLst>
            </p:cNvPr>
            <p:cNvSpPr txBox="1"/>
            <p:nvPr/>
          </p:nvSpPr>
          <p:spPr bwMode="gray">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123" name="Group 122">
              <a:extLst>
                <a:ext uri="{FF2B5EF4-FFF2-40B4-BE49-F238E27FC236}">
                  <a16:creationId xmlns:a16="http://schemas.microsoft.com/office/drawing/2014/main" id="{A9A74293-64B2-46CF-AC81-311CC5738EB9}"/>
                </a:ext>
              </a:extLst>
            </p:cNvPr>
            <p:cNvGrpSpPr/>
            <p:nvPr/>
          </p:nvGrpSpPr>
          <p:grpSpPr bwMode="gray">
            <a:xfrm>
              <a:off x="5525840" y="3618320"/>
              <a:ext cx="1879457" cy="481664"/>
              <a:chOff x="5525840" y="3618320"/>
              <a:chExt cx="1879457" cy="481664"/>
            </a:xfrm>
          </p:grpSpPr>
          <p:sp>
            <p:nvSpPr>
              <p:cNvPr id="124" name="TextBox 123">
                <a:extLst>
                  <a:ext uri="{FF2B5EF4-FFF2-40B4-BE49-F238E27FC236}">
                    <a16:creationId xmlns:a16="http://schemas.microsoft.com/office/drawing/2014/main" id="{DF2B5875-060E-4C85-B37B-3F2650DCCBC0}"/>
                  </a:ext>
                </a:extLst>
              </p:cNvPr>
              <p:cNvSpPr txBox="1"/>
              <p:nvPr/>
            </p:nvSpPr>
            <p:spPr bwMode="gray">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25" name="TextBox 124">
                <a:extLst>
                  <a:ext uri="{FF2B5EF4-FFF2-40B4-BE49-F238E27FC236}">
                    <a16:creationId xmlns:a16="http://schemas.microsoft.com/office/drawing/2014/main" id="{65513841-65E9-4889-B041-B1AB0CC272FC}"/>
                  </a:ext>
                </a:extLst>
              </p:cNvPr>
              <p:cNvSpPr txBox="1"/>
              <p:nvPr/>
            </p:nvSpPr>
            <p:spPr bwMode="gray">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pic>
        <p:nvPicPr>
          <p:cNvPr id="126" name="Picture 125">
            <a:extLst>
              <a:ext uri="{FF2B5EF4-FFF2-40B4-BE49-F238E27FC236}">
                <a16:creationId xmlns:a16="http://schemas.microsoft.com/office/drawing/2014/main" id="{E3C2B8D8-D97E-49B4-8013-47ACC5FDAD9A}"/>
              </a:ext>
            </a:extLst>
          </p:cNvPr>
          <p:cNvPicPr>
            <a:picLocks noChangeAspect="1"/>
          </p:cNvPicPr>
          <p:nvPr userDrawn="1"/>
        </p:nvPicPr>
        <p:blipFill rotWithShape="1">
          <a:blip r:embed="rId44" cstate="screen">
            <a:extLst>
              <a:ext uri="{28A0092B-C50C-407E-A947-70E740481C1C}">
                <a14:useLocalDpi xmlns:a14="http://schemas.microsoft.com/office/drawing/2010/main"/>
              </a:ext>
            </a:extLst>
          </a:blip>
          <a:srcRect t="50" b="50"/>
          <a:stretch/>
        </p:blipFill>
        <p:spPr bwMode="gray">
          <a:xfrm>
            <a:off x="623393" y="6108272"/>
            <a:ext cx="2336375" cy="633097"/>
          </a:xfrm>
          <a:prstGeom prst="rect">
            <a:avLst/>
          </a:prstGeom>
        </p:spPr>
      </p:pic>
      <p:sp>
        <p:nvSpPr>
          <p:cNvPr id="127" name="TitleTrackerAlpha" hidden="1">
            <a:extLst>
              <a:ext uri="{FF2B5EF4-FFF2-40B4-BE49-F238E27FC236}">
                <a16:creationId xmlns:a16="http://schemas.microsoft.com/office/drawing/2014/main" id="{B72A42AF-2681-44AB-A425-142238932AFD}"/>
              </a:ext>
            </a:extLst>
          </p:cNvPr>
          <p:cNvSpPr>
            <a:spLocks noChangeAspect="1"/>
          </p:cNvSpPr>
          <p:nvPr userDrawn="1">
            <p:custDataLst>
              <p:tags r:id="rId17"/>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A</a:t>
            </a:r>
          </a:p>
        </p:txBody>
      </p:sp>
      <p:sp>
        <p:nvSpPr>
          <p:cNvPr id="128" name="TitleTrackerNum" hidden="1">
            <a:extLst>
              <a:ext uri="{FF2B5EF4-FFF2-40B4-BE49-F238E27FC236}">
                <a16:creationId xmlns:a16="http://schemas.microsoft.com/office/drawing/2014/main" id="{4DD5D332-53AB-4EC7-9B8D-67F9435E4C04}"/>
              </a:ext>
            </a:extLst>
          </p:cNvPr>
          <p:cNvSpPr>
            <a:spLocks noChangeAspect="1"/>
          </p:cNvSpPr>
          <p:nvPr userDrawn="1">
            <p:custDataLst>
              <p:tags r:id="rId18"/>
            </p:custDataLst>
          </p:nvPr>
        </p:nvSpPr>
        <p:spPr bwMode="gray">
          <a:xfrm>
            <a:off x="609600" y="685239"/>
            <a:ext cx="369332" cy="369332"/>
          </a:xfrm>
          <a:prstGeom prst="ellipse">
            <a:avLst/>
          </a:prstGeom>
          <a:solidFill>
            <a:schemeClr val="accent6"/>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buClr>
                <a:schemeClr val="bg1"/>
              </a:buClr>
            </a:pPr>
            <a:r>
              <a:rPr lang="en-US" sz="2000" b="1">
                <a:solidFill>
                  <a:schemeClr val="bg1"/>
                </a:solidFill>
                <a:latin typeface="+mj-lt"/>
              </a:rPr>
              <a:t>1</a:t>
            </a:r>
          </a:p>
        </p:txBody>
      </p:sp>
    </p:spTree>
    <p:extLst>
      <p:ext uri="{BB962C8B-B14F-4D97-AF65-F5344CB8AC3E}">
        <p14:creationId xmlns:p14="http://schemas.microsoft.com/office/powerpoint/2010/main" val="2432030305"/>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Lst>
  <p:hf sldNum="0" hdr="0" ftr="0" dt="0"/>
  <p:txStyles>
    <p:titleStyle>
      <a:lvl1pPr algn="l" defTabSz="913572" rtl="0" eaLnBrk="1" fontAlgn="base" hangingPunct="1">
        <a:lnSpc>
          <a:spcPct val="100000"/>
        </a:lnSpc>
        <a:spcBef>
          <a:spcPct val="0"/>
        </a:spcBef>
        <a:spcAft>
          <a:spcPct val="0"/>
        </a:spcAft>
        <a:buClr>
          <a:schemeClr val="tx2"/>
        </a:buClr>
        <a:tabLst>
          <a:tab pos="361950" algn="l"/>
        </a:tabLst>
        <a:defRPr lang="x-none" sz="2400" b="1" baseline="0">
          <a:solidFill>
            <a:schemeClr val="bg1"/>
          </a:solidFill>
          <a:latin typeface="+mj-lt"/>
          <a:ea typeface="+mj-ea"/>
          <a:cs typeface="+mj-cs"/>
        </a:defRPr>
      </a:lvl1pPr>
      <a:lvl2pPr algn="l" defTabSz="913572" rtl="0" eaLnBrk="1" fontAlgn="base" hangingPunct="1">
        <a:spcBef>
          <a:spcPct val="0"/>
        </a:spcBef>
        <a:spcAft>
          <a:spcPct val="0"/>
        </a:spcAft>
        <a:defRPr lang="x-none" sz="1939" b="1">
          <a:solidFill>
            <a:schemeClr val="tx2"/>
          </a:solidFill>
          <a:latin typeface="Arial" charset="0"/>
        </a:defRPr>
      </a:lvl2pPr>
      <a:lvl3pPr algn="l" defTabSz="913572" rtl="0" eaLnBrk="1" fontAlgn="base" hangingPunct="1">
        <a:spcBef>
          <a:spcPct val="0"/>
        </a:spcBef>
        <a:spcAft>
          <a:spcPct val="0"/>
        </a:spcAft>
        <a:defRPr lang="x-none" sz="1939" b="1">
          <a:solidFill>
            <a:schemeClr val="tx2"/>
          </a:solidFill>
          <a:latin typeface="Arial" charset="0"/>
        </a:defRPr>
      </a:lvl3pPr>
      <a:lvl4pPr algn="l" defTabSz="913572" rtl="0" eaLnBrk="1" fontAlgn="base" hangingPunct="1">
        <a:spcBef>
          <a:spcPct val="0"/>
        </a:spcBef>
        <a:spcAft>
          <a:spcPct val="0"/>
        </a:spcAft>
        <a:defRPr lang="x-none" sz="1939" b="1">
          <a:solidFill>
            <a:schemeClr val="tx2"/>
          </a:solidFill>
          <a:latin typeface="Arial" charset="0"/>
        </a:defRPr>
      </a:lvl4pPr>
      <a:lvl5pPr algn="l" defTabSz="913572" rtl="0" eaLnBrk="1" fontAlgn="base" hangingPunct="1">
        <a:spcBef>
          <a:spcPct val="0"/>
        </a:spcBef>
        <a:spcAft>
          <a:spcPct val="0"/>
        </a:spcAft>
        <a:defRPr lang="x-none" sz="1939" b="1">
          <a:solidFill>
            <a:schemeClr val="tx2"/>
          </a:solidFill>
          <a:latin typeface="Arial" charset="0"/>
        </a:defRPr>
      </a:lvl5pPr>
      <a:lvl6pPr marL="466505" algn="l" defTabSz="913572" rtl="0" eaLnBrk="1" fontAlgn="base" hangingPunct="1">
        <a:spcBef>
          <a:spcPct val="0"/>
        </a:spcBef>
        <a:spcAft>
          <a:spcPct val="0"/>
        </a:spcAft>
        <a:defRPr lang="x-none" sz="1939" b="1">
          <a:solidFill>
            <a:schemeClr val="tx2"/>
          </a:solidFill>
          <a:latin typeface="Arial" charset="0"/>
        </a:defRPr>
      </a:lvl6pPr>
      <a:lvl7pPr marL="933009" algn="l" defTabSz="913572" rtl="0" eaLnBrk="1" fontAlgn="base" hangingPunct="1">
        <a:spcBef>
          <a:spcPct val="0"/>
        </a:spcBef>
        <a:spcAft>
          <a:spcPct val="0"/>
        </a:spcAft>
        <a:defRPr lang="x-none" sz="1939" b="1">
          <a:solidFill>
            <a:schemeClr val="tx2"/>
          </a:solidFill>
          <a:latin typeface="Arial" charset="0"/>
        </a:defRPr>
      </a:lvl7pPr>
      <a:lvl8pPr marL="1399513" algn="l" defTabSz="913572" rtl="0" eaLnBrk="1" fontAlgn="base" hangingPunct="1">
        <a:spcBef>
          <a:spcPct val="0"/>
        </a:spcBef>
        <a:spcAft>
          <a:spcPct val="0"/>
        </a:spcAft>
        <a:defRPr lang="x-none" sz="1939" b="1">
          <a:solidFill>
            <a:schemeClr val="tx2"/>
          </a:solidFill>
          <a:latin typeface="Arial" charset="0"/>
        </a:defRPr>
      </a:lvl8pPr>
      <a:lvl9pPr marL="1866019" algn="l" defTabSz="913572" rtl="0" eaLnBrk="1" fontAlgn="base" hangingPunct="1">
        <a:spcBef>
          <a:spcPct val="0"/>
        </a:spcBef>
        <a:spcAft>
          <a:spcPct val="0"/>
        </a:spcAft>
        <a:defRPr lang="x-none" sz="1939" b="1">
          <a:solidFill>
            <a:schemeClr val="tx2"/>
          </a:solidFill>
          <a:latin typeface="Arial" charset="0"/>
        </a:defRPr>
      </a:lvl9pPr>
    </p:titleStyle>
    <p:bodyStyle>
      <a:lvl1pPr marL="0" indent="0" algn="l" defTabSz="913572" rtl="0" eaLnBrk="1" fontAlgn="base" hangingPunct="1">
        <a:spcBef>
          <a:spcPct val="0"/>
        </a:spcBef>
        <a:spcAft>
          <a:spcPct val="0"/>
        </a:spcAft>
        <a:buClr>
          <a:schemeClr val="tx1"/>
        </a:buClr>
        <a:buSzPct val="100000"/>
        <a:buFontTx/>
        <a:buNone/>
        <a:defRPr lang="x-none" sz="1600" baseline="0">
          <a:solidFill>
            <a:schemeClr val="tx1"/>
          </a:solidFill>
          <a:latin typeface="+mn-lt"/>
          <a:ea typeface="+mn-ea"/>
          <a:cs typeface="+mn-cs"/>
        </a:defRPr>
      </a:lvl1pPr>
      <a:lvl2pPr marL="180000" indent="-180054"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2pPr>
      <a:lvl3pPr marL="36576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3pPr>
      <a:lvl4pPr marL="54864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4pPr>
      <a:lvl5pPr marL="731520" indent="-182880" algn="l" defTabSz="913572" rtl="0" eaLnBrk="1" fontAlgn="base" hangingPunct="1">
        <a:spcBef>
          <a:spcPct val="0"/>
        </a:spcBef>
        <a:spcAft>
          <a:spcPct val="0"/>
        </a:spcAft>
        <a:buClr>
          <a:schemeClr val="tx1"/>
        </a:buClr>
        <a:buSzPct val="100000"/>
        <a:buFont typeface="Arial" panose="020B0604020202020204" pitchFamily="34" charset="0"/>
        <a:buChar char="–"/>
        <a:defRPr lang="x-none" sz="1600" baseline="0">
          <a:solidFill>
            <a:schemeClr val="tx1"/>
          </a:solidFill>
          <a:latin typeface="+mn-lt"/>
        </a:defRPr>
      </a:lvl5pPr>
      <a:lvl6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67" indent="-132825" algn="l" defTabSz="913572"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3009" rtl="0" eaLnBrk="1" latinLnBrk="0" hangingPunct="1">
        <a:defRPr lang="x-none" sz="1838" kern="1200">
          <a:solidFill>
            <a:schemeClr val="tx1"/>
          </a:solidFill>
          <a:latin typeface="+mn-lt"/>
          <a:ea typeface="+mn-ea"/>
          <a:cs typeface="+mn-cs"/>
        </a:defRPr>
      </a:lvl1pPr>
      <a:lvl2pPr marL="466505" algn="l" defTabSz="933009" rtl="0" eaLnBrk="1" latinLnBrk="0" hangingPunct="1">
        <a:defRPr lang="x-none" sz="1838" kern="1200">
          <a:solidFill>
            <a:schemeClr val="tx1"/>
          </a:solidFill>
          <a:latin typeface="+mn-lt"/>
          <a:ea typeface="+mn-ea"/>
          <a:cs typeface="+mn-cs"/>
        </a:defRPr>
      </a:lvl2pPr>
      <a:lvl3pPr marL="933009" algn="l" defTabSz="933009" rtl="0" eaLnBrk="1" latinLnBrk="0" hangingPunct="1">
        <a:defRPr lang="x-none" sz="1838" kern="1200">
          <a:solidFill>
            <a:schemeClr val="tx1"/>
          </a:solidFill>
          <a:latin typeface="+mn-lt"/>
          <a:ea typeface="+mn-ea"/>
          <a:cs typeface="+mn-cs"/>
        </a:defRPr>
      </a:lvl3pPr>
      <a:lvl4pPr marL="1399513" algn="l" defTabSz="933009" rtl="0" eaLnBrk="1" latinLnBrk="0" hangingPunct="1">
        <a:defRPr lang="x-none" sz="1838" kern="1200">
          <a:solidFill>
            <a:schemeClr val="tx1"/>
          </a:solidFill>
          <a:latin typeface="+mn-lt"/>
          <a:ea typeface="+mn-ea"/>
          <a:cs typeface="+mn-cs"/>
        </a:defRPr>
      </a:lvl4pPr>
      <a:lvl5pPr marL="1866019" algn="l" defTabSz="933009" rtl="0" eaLnBrk="1" latinLnBrk="0" hangingPunct="1">
        <a:defRPr lang="x-none" sz="1838" kern="1200">
          <a:solidFill>
            <a:schemeClr val="tx1"/>
          </a:solidFill>
          <a:latin typeface="+mn-lt"/>
          <a:ea typeface="+mn-ea"/>
          <a:cs typeface="+mn-cs"/>
        </a:defRPr>
      </a:lvl5pPr>
      <a:lvl6pPr marL="2332524" algn="l" defTabSz="933009" rtl="0" eaLnBrk="1" latinLnBrk="0" hangingPunct="1">
        <a:defRPr lang="x-none" sz="1838" kern="1200">
          <a:solidFill>
            <a:schemeClr val="tx1"/>
          </a:solidFill>
          <a:latin typeface="+mn-lt"/>
          <a:ea typeface="+mn-ea"/>
          <a:cs typeface="+mn-cs"/>
        </a:defRPr>
      </a:lvl6pPr>
      <a:lvl7pPr marL="2799026" algn="l" defTabSz="933009" rtl="0" eaLnBrk="1" latinLnBrk="0" hangingPunct="1">
        <a:defRPr lang="x-none" sz="1838" kern="1200">
          <a:solidFill>
            <a:schemeClr val="tx1"/>
          </a:solidFill>
          <a:latin typeface="+mn-lt"/>
          <a:ea typeface="+mn-ea"/>
          <a:cs typeface="+mn-cs"/>
        </a:defRPr>
      </a:lvl7pPr>
      <a:lvl8pPr marL="3265531" algn="l" defTabSz="933009" rtl="0" eaLnBrk="1" latinLnBrk="0" hangingPunct="1">
        <a:defRPr lang="x-none" sz="1838" kern="1200">
          <a:solidFill>
            <a:schemeClr val="tx1"/>
          </a:solidFill>
          <a:latin typeface="+mn-lt"/>
          <a:ea typeface="+mn-ea"/>
          <a:cs typeface="+mn-cs"/>
        </a:defRPr>
      </a:lvl8pPr>
      <a:lvl9pPr marL="3732035" algn="l" defTabSz="933009" rtl="0" eaLnBrk="1" latinLnBrk="0" hangingPunct="1">
        <a:defRPr lang="x-none"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56">
          <p15:clr>
            <a:srgbClr val="F26B43"/>
          </p15:clr>
        </p15:guide>
        <p15:guide id="2" pos="2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C1F6B3BA-BFAB-7E28-116A-0F9461A1D12B}"/>
              </a:ext>
            </a:extLst>
          </p:cNvPr>
          <p:cNvSpPr>
            <a:spLocks noGrp="1"/>
          </p:cNvSpPr>
          <p:nvPr>
            <p:ph type="subTitle" idx="1"/>
          </p:nvPr>
        </p:nvSpPr>
        <p:spPr/>
        <p:txBody>
          <a:bodyPr/>
          <a:lstStyle/>
          <a:p>
            <a:r>
              <a:rPr lang="en-GB"/>
              <a:t>h</a:t>
            </a:r>
          </a:p>
        </p:txBody>
      </p:sp>
      <p:sp>
        <p:nvSpPr>
          <p:cNvPr id="7" name="Title 4">
            <a:extLst>
              <a:ext uri="{FF2B5EF4-FFF2-40B4-BE49-F238E27FC236}">
                <a16:creationId xmlns:a16="http://schemas.microsoft.com/office/drawing/2014/main" id="{CB9A0697-9B0D-5187-1D44-0DC2F6AD9EBF}"/>
              </a:ext>
            </a:extLst>
          </p:cNvPr>
          <p:cNvSpPr>
            <a:spLocks noGrp="1"/>
          </p:cNvSpPr>
          <p:nvPr>
            <p:ph type="ctrTitle"/>
          </p:nvPr>
        </p:nvSpPr>
        <p:spPr>
          <a:xfrm>
            <a:off x="4286249" y="3080951"/>
            <a:ext cx="7421037" cy="1334530"/>
          </a:xfrm>
        </p:spPr>
        <p:txBody>
          <a:bodyPr/>
          <a:lstStyle/>
          <a:p>
            <a:r>
              <a:rPr lang="en-GB"/>
              <a:t>Tuberculosis situation in the EU/EEA, 2021</a:t>
            </a:r>
          </a:p>
        </p:txBody>
      </p:sp>
      <p:sp>
        <p:nvSpPr>
          <p:cNvPr id="11" name="TextBox 10">
            <a:extLst>
              <a:ext uri="{FF2B5EF4-FFF2-40B4-BE49-F238E27FC236}">
                <a16:creationId xmlns:a16="http://schemas.microsoft.com/office/drawing/2014/main" id="{A09B96F9-093A-8CB8-4D15-189D226B0FC5}"/>
              </a:ext>
            </a:extLst>
          </p:cNvPr>
          <p:cNvSpPr txBox="1"/>
          <p:nvPr/>
        </p:nvSpPr>
        <p:spPr>
          <a:xfrm>
            <a:off x="4286244" y="4954788"/>
            <a:ext cx="7421037" cy="1600438"/>
          </a:xfrm>
          <a:prstGeom prst="rect">
            <a:avLst/>
          </a:prstGeom>
          <a:noFill/>
        </p:spPr>
        <p:txBody>
          <a:bodyPr wrap="square">
            <a:spAutoFit/>
          </a:bodyPr>
          <a:lstStyle/>
          <a:p>
            <a:r>
              <a:rPr lang="en-GB" sz="2000"/>
              <a:t>Findings from the joint report </a:t>
            </a:r>
            <a:r>
              <a:rPr lang="en-GB" sz="2000" i="1"/>
              <a:t>Tuberculosis surveillance and monitoring in Europe</a:t>
            </a:r>
            <a:r>
              <a:rPr lang="en-GB" sz="2000"/>
              <a:t> by ECDC and WHO Regional Office for Europe</a:t>
            </a:r>
          </a:p>
          <a:p>
            <a:r>
              <a:rPr lang="en-GB"/>
              <a:t> </a:t>
            </a:r>
            <a:endParaRPr lang="en-GB" sz="2000"/>
          </a:p>
          <a:p>
            <a:r>
              <a:rPr lang="en-GB" sz="2000"/>
              <a:t>Stockholm, 21 March 2024</a:t>
            </a:r>
          </a:p>
        </p:txBody>
      </p:sp>
      <p:sp>
        <p:nvSpPr>
          <p:cNvPr id="16" name="TextBox 15">
            <a:extLst>
              <a:ext uri="{FF2B5EF4-FFF2-40B4-BE49-F238E27FC236}">
                <a16:creationId xmlns:a16="http://schemas.microsoft.com/office/drawing/2014/main" id="{06601B4C-7CFE-A58D-21E2-469A77E0ED97}"/>
              </a:ext>
            </a:extLst>
          </p:cNvPr>
          <p:cNvSpPr txBox="1"/>
          <p:nvPr/>
        </p:nvSpPr>
        <p:spPr>
          <a:xfrm>
            <a:off x="4286245" y="3080324"/>
            <a:ext cx="7421037" cy="1477328"/>
          </a:xfrm>
          <a:prstGeom prst="rect">
            <a:avLst/>
          </a:prstGeom>
          <a:noFill/>
        </p:spPr>
        <p:txBody>
          <a:bodyPr wrap="square">
            <a:spAutoFit/>
          </a:bodyPr>
          <a:lstStyle/>
          <a:p>
            <a:r>
              <a:rPr lang="en-GB" sz="4400" b="1"/>
              <a:t>Tuberculosis situation in the EU/EEA, 2022</a:t>
            </a:r>
          </a:p>
        </p:txBody>
      </p:sp>
    </p:spTree>
    <p:extLst>
      <p:ext uri="{BB962C8B-B14F-4D97-AF65-F5344CB8AC3E}">
        <p14:creationId xmlns:p14="http://schemas.microsoft.com/office/powerpoint/2010/main" val="3372239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0</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125314" cy="822325"/>
          </a:xfrm>
        </p:spPr>
        <p:txBody>
          <a:bodyPr/>
          <a:lstStyle/>
          <a:p>
            <a:r>
              <a:rPr lang="en-GB" sz="2800"/>
              <a:t>TB cases in persons of foreign origin*, EU/EEA</a:t>
            </a:r>
            <a:r>
              <a:rPr lang="en-GB" sz="2800" baseline="30000"/>
              <a:t>†</a:t>
            </a:r>
            <a:r>
              <a:rPr lang="en-GB" sz="2800"/>
              <a:t>, 2013–2022</a:t>
            </a:r>
            <a:endParaRPr lang="nl-NL" sz="2800"/>
          </a:p>
        </p:txBody>
      </p:sp>
      <p:sp>
        <p:nvSpPr>
          <p:cNvPr id="3" name="TextBox 2">
            <a:extLst>
              <a:ext uri="{FF2B5EF4-FFF2-40B4-BE49-F238E27FC236}">
                <a16:creationId xmlns:a16="http://schemas.microsoft.com/office/drawing/2014/main" id="{2306385C-DFC8-279D-341E-CEA509BE241C}"/>
              </a:ext>
            </a:extLst>
          </p:cNvPr>
          <p:cNvSpPr txBox="1"/>
          <p:nvPr/>
        </p:nvSpPr>
        <p:spPr>
          <a:xfrm>
            <a:off x="889686" y="1207097"/>
            <a:ext cx="10774314" cy="973366"/>
          </a:xfrm>
          <a:prstGeom prst="snip2DiagRect">
            <a:avLst/>
          </a:prstGeom>
          <a:solidFill>
            <a:srgbClr val="ACDDEF">
              <a:alpha val="50000"/>
            </a:srgbClr>
          </a:solidFill>
        </p:spPr>
        <p:txBody>
          <a:bodyPr wrap="square" lIns="91440" tIns="45720" rIns="91440" bIns="45720" rtlCol="0" anchor="t">
            <a:spAutoFit/>
          </a:bodyPr>
          <a:lstStyle/>
          <a:p>
            <a:r>
              <a:rPr lang="en-GB" sz="1800"/>
              <a:t>The proportion of cases in persons of foreign origin increased from </a:t>
            </a:r>
            <a:r>
              <a:rPr lang="en-GB" sz="1800" b="1"/>
              <a:t>21.2%</a:t>
            </a:r>
            <a:r>
              <a:rPr lang="en-GB" sz="1800"/>
              <a:t> in 2013 to </a:t>
            </a:r>
            <a:r>
              <a:rPr lang="en-GB" sz="1800" b="1"/>
              <a:t>33.3%</a:t>
            </a:r>
            <a:r>
              <a:rPr lang="en-GB" sz="1800"/>
              <a:t> in 2022</a:t>
            </a:r>
          </a:p>
          <a:p>
            <a:endParaRPr lang="en-GB" sz="1100"/>
          </a:p>
          <a:p>
            <a:r>
              <a:rPr lang="en-GB" sz="1800"/>
              <a:t>The rate of TB cases of foreign origin per 100 000 of the total population varied between </a:t>
            </a:r>
            <a:r>
              <a:rPr lang="en-GB" sz="1800" b="1"/>
              <a:t>2.5</a:t>
            </a:r>
            <a:r>
              <a:rPr lang="en-GB" sz="1800"/>
              <a:t> and </a:t>
            </a:r>
            <a:r>
              <a:rPr lang="en-GB" sz="1800" b="1"/>
              <a:t>3.4</a:t>
            </a:r>
          </a:p>
        </p:txBody>
      </p:sp>
      <p:sp>
        <p:nvSpPr>
          <p:cNvPr id="5" name="Rectangle 4">
            <a:extLst>
              <a:ext uri="{FF2B5EF4-FFF2-40B4-BE49-F238E27FC236}">
                <a16:creationId xmlns:a16="http://schemas.microsoft.com/office/drawing/2014/main" id="{AD462C66-B43E-5700-9864-2DFA3067E984}"/>
              </a:ext>
            </a:extLst>
          </p:cNvPr>
          <p:cNvSpPr/>
          <p:nvPr/>
        </p:nvSpPr>
        <p:spPr>
          <a:xfrm>
            <a:off x="118236" y="6305093"/>
            <a:ext cx="9121558" cy="400110"/>
          </a:xfrm>
          <a:prstGeom prst="rect">
            <a:avLst/>
          </a:prstGeom>
        </p:spPr>
        <p:txBody>
          <a:bodyPr wrap="square">
            <a:spAutoFit/>
          </a:bodyPr>
          <a:lstStyle/>
          <a:p>
            <a:pPr lvl="0">
              <a:lnSpc>
                <a:spcPct val="100000"/>
              </a:lnSpc>
              <a:spcBef>
                <a:spcPct val="30000"/>
              </a:spcBef>
              <a:defRPr/>
            </a:pPr>
            <a:r>
              <a:rPr lang="en-GB" sz="1000"/>
              <a:t>* Notified in persons originating from other countries than the reporting country.</a:t>
            </a:r>
            <a:br>
              <a:rPr lang="en-GB" sz="1000"/>
            </a:br>
            <a:r>
              <a:rPr lang="en-GB" sz="1000" baseline="30000"/>
              <a:t>† </a:t>
            </a:r>
            <a:r>
              <a:rPr lang="en-GB" sz="1000"/>
              <a:t>Data not reported and excluded from the trends presented in the figure for Latvia 2018-2020 and Liechtenstein 2019.</a:t>
            </a:r>
          </a:p>
        </p:txBody>
      </p:sp>
      <p:sp>
        <p:nvSpPr>
          <p:cNvPr id="7" name="Text Box 83">
            <a:extLst>
              <a:ext uri="{FF2B5EF4-FFF2-40B4-BE49-F238E27FC236}">
                <a16:creationId xmlns:a16="http://schemas.microsoft.com/office/drawing/2014/main" id="{E8E58CD0-E2EB-8F68-467F-C90EAEF9AF9A}"/>
              </a:ext>
            </a:extLst>
          </p:cNvPr>
          <p:cNvSpPr txBox="1">
            <a:spLocks noChangeArrowheads="1"/>
          </p:cNvSpPr>
          <p:nvPr/>
        </p:nvSpPr>
        <p:spPr bwMode="auto">
          <a:xfrm>
            <a:off x="275215" y="6705203"/>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8" name="Picture 7">
            <a:extLst>
              <a:ext uri="{FF2B5EF4-FFF2-40B4-BE49-F238E27FC236}">
                <a16:creationId xmlns:a16="http://schemas.microsoft.com/office/drawing/2014/main" id="{DDAC7EBC-7CC6-C303-8AC8-40AFA3D4D4BE}"/>
              </a:ext>
            </a:extLst>
          </p:cNvPr>
          <p:cNvPicPr>
            <a:picLocks noChangeAspect="1"/>
          </p:cNvPicPr>
          <p:nvPr/>
        </p:nvPicPr>
        <p:blipFill>
          <a:blip r:embed="rId3"/>
          <a:stretch>
            <a:fillRect/>
          </a:stretch>
        </p:blipFill>
        <p:spPr>
          <a:xfrm>
            <a:off x="2063886" y="2313960"/>
            <a:ext cx="8322114" cy="4026118"/>
          </a:xfrm>
          <a:prstGeom prst="rect">
            <a:avLst/>
          </a:prstGeom>
        </p:spPr>
      </p:pic>
    </p:spTree>
    <p:extLst>
      <p:ext uri="{BB962C8B-B14F-4D97-AF65-F5344CB8AC3E}">
        <p14:creationId xmlns:p14="http://schemas.microsoft.com/office/powerpoint/2010/main" val="1548685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1</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936625" y="220526"/>
            <a:ext cx="8014870" cy="822325"/>
          </a:xfrm>
        </p:spPr>
        <p:txBody>
          <a:bodyPr/>
          <a:lstStyle/>
          <a:p>
            <a:r>
              <a:rPr lang="nn-NO" sz="2800"/>
              <a:t>RR/MDR TB cases with available DST results, EU/EEA*, 2022</a:t>
            </a:r>
            <a:endParaRPr lang="nl-NL" sz="2800"/>
          </a:p>
        </p:txBody>
      </p:sp>
      <p:sp>
        <p:nvSpPr>
          <p:cNvPr id="3" name="TextBox 2">
            <a:extLst>
              <a:ext uri="{FF2B5EF4-FFF2-40B4-BE49-F238E27FC236}">
                <a16:creationId xmlns:a16="http://schemas.microsoft.com/office/drawing/2014/main" id="{44081B20-6393-91A3-2D06-9A21D66FAB7C}"/>
              </a:ext>
            </a:extLst>
          </p:cNvPr>
          <p:cNvSpPr txBox="1"/>
          <p:nvPr/>
        </p:nvSpPr>
        <p:spPr>
          <a:xfrm>
            <a:off x="388575" y="1693307"/>
            <a:ext cx="2968236" cy="3500705"/>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933 </a:t>
            </a:r>
            <a:r>
              <a:rPr lang="en-GB" sz="1800"/>
              <a:t>pulmonary</a:t>
            </a:r>
            <a:r>
              <a:rPr lang="en-GB" sz="1800" b="1"/>
              <a:t> </a:t>
            </a:r>
            <a:r>
              <a:rPr lang="en-GB" sz="1800"/>
              <a:t>RR/MDR TB cases notified by all EU/EEA countries*</a:t>
            </a:r>
          </a:p>
          <a:p>
            <a:pPr marL="96834">
              <a:lnSpc>
                <a:spcPct val="100000"/>
              </a:lnSpc>
              <a:spcAft>
                <a:spcPts val="0"/>
              </a:spcAft>
            </a:pPr>
            <a:endParaRPr lang="en-GB" sz="1100"/>
          </a:p>
          <a:p>
            <a:pPr marL="96834">
              <a:lnSpc>
                <a:spcPct val="100000"/>
              </a:lnSpc>
              <a:spcAft>
                <a:spcPts val="0"/>
              </a:spcAft>
            </a:pPr>
            <a:r>
              <a:rPr lang="en-GB" sz="1800" b="1"/>
              <a:t>5.0% </a:t>
            </a:r>
            <a:r>
              <a:rPr lang="en-GB" sz="1800"/>
              <a:t>of all TB cases with available DST</a:t>
            </a:r>
            <a:r>
              <a:rPr lang="en-GB" sz="1800" baseline="30000"/>
              <a:t>†</a:t>
            </a:r>
            <a:r>
              <a:rPr lang="en-GB" sz="1800"/>
              <a:t> results</a:t>
            </a:r>
            <a:r>
              <a:rPr lang="en-GB" sz="1800">
                <a:solidFill>
                  <a:srgbClr val="FF0000"/>
                </a:solidFill>
              </a:rPr>
              <a:t> </a:t>
            </a:r>
            <a:r>
              <a:rPr lang="en-GB" sz="1800"/>
              <a:t>had RR/MDR TB (range 0.0–25.5%, excluding France)</a:t>
            </a:r>
          </a:p>
        </p:txBody>
      </p:sp>
      <p:sp>
        <p:nvSpPr>
          <p:cNvPr id="5" name="Rectangle 4">
            <a:extLst>
              <a:ext uri="{FF2B5EF4-FFF2-40B4-BE49-F238E27FC236}">
                <a16:creationId xmlns:a16="http://schemas.microsoft.com/office/drawing/2014/main" id="{D4212956-12D0-B126-1F12-FE5156987ACD}"/>
              </a:ext>
            </a:extLst>
          </p:cNvPr>
          <p:cNvSpPr/>
          <p:nvPr/>
        </p:nvSpPr>
        <p:spPr>
          <a:xfrm>
            <a:off x="109649" y="5800805"/>
            <a:ext cx="4011005" cy="707886"/>
          </a:xfrm>
          <a:prstGeom prst="rect">
            <a:avLst/>
          </a:prstGeom>
        </p:spPr>
        <p:txBody>
          <a:bodyPr wrap="square">
            <a:spAutoFit/>
          </a:bodyPr>
          <a:lstStyle/>
          <a:p>
            <a:pPr>
              <a:lnSpc>
                <a:spcPct val="100000"/>
              </a:lnSpc>
              <a:spcBef>
                <a:spcPct val="30000"/>
              </a:spcBef>
              <a:defRPr/>
            </a:pPr>
            <a:r>
              <a:rPr lang="en-GB" sz="1000" spc="-30"/>
              <a:t>* Data from France included in the total cases notified and percentage, but not included in the range or the map, as DST results are only available for RR/MDR TB cases. </a:t>
            </a:r>
            <a:br>
              <a:rPr lang="en-GB" sz="1000" spc="-30"/>
            </a:br>
            <a:r>
              <a:rPr lang="en-GB" sz="1000" spc="-30"/>
              <a:t>  </a:t>
            </a:r>
            <a:r>
              <a:rPr lang="en-GB" sz="1000" spc="-30" baseline="30000"/>
              <a:t>†</a:t>
            </a:r>
            <a:r>
              <a:rPr lang="en-GB" sz="1000" spc="-30"/>
              <a:t>  DST – drug susceptibility test.</a:t>
            </a:r>
            <a:endParaRPr lang="en-GB" sz="1000"/>
          </a:p>
        </p:txBody>
      </p:sp>
      <p:sp>
        <p:nvSpPr>
          <p:cNvPr id="2" name="Text Box 83">
            <a:extLst>
              <a:ext uri="{FF2B5EF4-FFF2-40B4-BE49-F238E27FC236}">
                <a16:creationId xmlns:a16="http://schemas.microsoft.com/office/drawing/2014/main" id="{A4DC7F2C-28EE-D456-EFF8-49AAA326D00F}"/>
              </a:ext>
            </a:extLst>
          </p:cNvPr>
          <p:cNvSpPr txBox="1">
            <a:spLocks noChangeArrowheads="1"/>
          </p:cNvSpPr>
          <p:nvPr/>
        </p:nvSpPr>
        <p:spPr bwMode="auto">
          <a:xfrm>
            <a:off x="192432" y="6608701"/>
            <a:ext cx="3845441"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8" name="Picture 7" descr="A map of europe with different colored countries/regions&#10;&#10;Description automatically generated">
            <a:extLst>
              <a:ext uri="{FF2B5EF4-FFF2-40B4-BE49-F238E27FC236}">
                <a16:creationId xmlns:a16="http://schemas.microsoft.com/office/drawing/2014/main" id="{AE54A2ED-5B45-DB06-5B3F-067EF0D580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77776" y="1195743"/>
            <a:ext cx="8014870" cy="5662257"/>
          </a:xfrm>
          <a:prstGeom prst="rect">
            <a:avLst/>
          </a:prstGeom>
        </p:spPr>
      </p:pic>
    </p:spTree>
    <p:extLst>
      <p:ext uri="{BB962C8B-B14F-4D97-AF65-F5344CB8AC3E}">
        <p14:creationId xmlns:p14="http://schemas.microsoft.com/office/powerpoint/2010/main" val="2981364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F2AF1A6-5371-4120-7AC5-4937F2523CA7}"/>
              </a:ext>
            </a:extLst>
          </p:cNvPr>
          <p:cNvPicPr>
            <a:picLocks noChangeAspect="1"/>
          </p:cNvPicPr>
          <p:nvPr/>
        </p:nvPicPr>
        <p:blipFill>
          <a:blip r:embed="rId2"/>
          <a:stretch>
            <a:fillRect/>
          </a:stretch>
        </p:blipFill>
        <p:spPr>
          <a:xfrm>
            <a:off x="2488759" y="1648438"/>
            <a:ext cx="6480312" cy="4729911"/>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2</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Proportion of RR/MDR TB, EU/EEA*, 2022</a:t>
            </a:r>
            <a:endParaRPr lang="nl-NL" sz="2800"/>
          </a:p>
        </p:txBody>
      </p:sp>
      <p:sp>
        <p:nvSpPr>
          <p:cNvPr id="2" name="TextBox 1">
            <a:extLst>
              <a:ext uri="{FF2B5EF4-FFF2-40B4-BE49-F238E27FC236}">
                <a16:creationId xmlns:a16="http://schemas.microsoft.com/office/drawing/2014/main" id="{EB2CCBC2-791A-13B5-A5A5-BC524A86B31A}"/>
              </a:ext>
            </a:extLst>
          </p:cNvPr>
          <p:cNvSpPr txBox="1"/>
          <p:nvPr/>
        </p:nvSpPr>
        <p:spPr>
          <a:xfrm>
            <a:off x="526158" y="992974"/>
            <a:ext cx="11543922" cy="771346"/>
          </a:xfrm>
          <a:prstGeom prst="snip2DiagRect">
            <a:avLst/>
          </a:prstGeom>
          <a:solidFill>
            <a:srgbClr val="ACDDEF">
              <a:alpha val="50000"/>
            </a:srgbClr>
          </a:solidFill>
        </p:spPr>
        <p:txBody>
          <a:bodyPr wrap="square" rtlCol="0">
            <a:spAutoFit/>
          </a:bodyPr>
          <a:lstStyle/>
          <a:p>
            <a:r>
              <a:rPr lang="en-GB" sz="1800" b="1"/>
              <a:t>933 </a:t>
            </a:r>
            <a:r>
              <a:rPr lang="en-GB" sz="1800"/>
              <a:t>RR/MDR TB cases notified by all EU/EEA countries </a:t>
            </a:r>
          </a:p>
          <a:p>
            <a:r>
              <a:rPr lang="en-GB" sz="1800" b="1"/>
              <a:t>5.0%</a:t>
            </a:r>
            <a:r>
              <a:rPr lang="en-GB" sz="1800"/>
              <a:t> of all bacteriologically-confirmed TB cases with available DST</a:t>
            </a:r>
            <a:r>
              <a:rPr lang="en-GB" sz="1800" baseline="30000"/>
              <a:t>†</a:t>
            </a:r>
            <a:r>
              <a:rPr lang="en-GB" sz="1800"/>
              <a:t> results had</a:t>
            </a:r>
            <a:r>
              <a:rPr lang="en-GB" sz="1800">
                <a:solidFill>
                  <a:srgbClr val="FF0000"/>
                </a:solidFill>
              </a:rPr>
              <a:t> </a:t>
            </a:r>
            <a:r>
              <a:rPr lang="en-GB" sz="1800"/>
              <a:t>RR/MDR TB (range 0-25.5%) </a:t>
            </a:r>
          </a:p>
        </p:txBody>
      </p:sp>
      <p:sp>
        <p:nvSpPr>
          <p:cNvPr id="5" name="Rectangle 4">
            <a:extLst>
              <a:ext uri="{FF2B5EF4-FFF2-40B4-BE49-F238E27FC236}">
                <a16:creationId xmlns:a16="http://schemas.microsoft.com/office/drawing/2014/main" id="{9E7324F6-2905-F335-326D-71FEAF8262D0}"/>
              </a:ext>
            </a:extLst>
          </p:cNvPr>
          <p:cNvSpPr/>
          <p:nvPr/>
        </p:nvSpPr>
        <p:spPr>
          <a:xfrm>
            <a:off x="79129" y="6262467"/>
            <a:ext cx="10791961" cy="400110"/>
          </a:xfrm>
          <a:prstGeom prst="rect">
            <a:avLst/>
          </a:prstGeom>
        </p:spPr>
        <p:txBody>
          <a:bodyPr wrap="square">
            <a:spAutoFit/>
          </a:bodyPr>
          <a:lstStyle/>
          <a:p>
            <a:pPr lvl="0">
              <a:lnSpc>
                <a:spcPct val="100000"/>
              </a:lnSpc>
              <a:spcBef>
                <a:spcPct val="30000"/>
              </a:spcBef>
              <a:defRPr/>
            </a:pPr>
            <a:r>
              <a:rPr lang="en-GB" sz="1000"/>
              <a:t>* RR/MDR TB data from France are not included in the graph. Liechtenstein and Luxembourg reported zero RR/MDR TB cases for 2022. </a:t>
            </a:r>
            <a:br>
              <a:rPr lang="en-GB" sz="1000"/>
            </a:br>
            <a:r>
              <a:rPr lang="en-GB" sz="1000" spc="-30" baseline="30000"/>
              <a:t>†</a:t>
            </a:r>
            <a:r>
              <a:rPr lang="en-GB" sz="1000" spc="-30"/>
              <a:t>  DST – drug susceptibility test.</a:t>
            </a:r>
            <a:endParaRPr lang="en-GB" sz="1000"/>
          </a:p>
        </p:txBody>
      </p:sp>
      <p:sp>
        <p:nvSpPr>
          <p:cNvPr id="7" name="Text Box 83">
            <a:extLst>
              <a:ext uri="{FF2B5EF4-FFF2-40B4-BE49-F238E27FC236}">
                <a16:creationId xmlns:a16="http://schemas.microsoft.com/office/drawing/2014/main" id="{F04B6B78-1589-1E1A-7877-F548F271B0B8}"/>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3–2022 data</a:t>
            </a:r>
          </a:p>
        </p:txBody>
      </p:sp>
    </p:spTree>
    <p:extLst>
      <p:ext uri="{BB962C8B-B14F-4D97-AF65-F5344CB8AC3E}">
        <p14:creationId xmlns:p14="http://schemas.microsoft.com/office/powerpoint/2010/main" val="2590788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535158-961B-B4D8-9F15-81544FCB713A}"/>
              </a:ext>
            </a:extLst>
          </p:cNvPr>
          <p:cNvPicPr>
            <a:picLocks noChangeAspect="1"/>
          </p:cNvPicPr>
          <p:nvPr/>
        </p:nvPicPr>
        <p:blipFill>
          <a:blip r:embed="rId2"/>
          <a:stretch>
            <a:fillRect/>
          </a:stretch>
        </p:blipFill>
        <p:spPr>
          <a:xfrm>
            <a:off x="2085552" y="2440482"/>
            <a:ext cx="7749607" cy="3708039"/>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3</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72802" y="232692"/>
            <a:ext cx="8433777" cy="822325"/>
          </a:xfrm>
        </p:spPr>
        <p:txBody>
          <a:bodyPr/>
          <a:lstStyle/>
          <a:p>
            <a:r>
              <a:rPr lang="en-GB" sz="2300"/>
              <a:t>RR/MDR TB cases and proportion of all RR/MDR TB cases tested for drug resistance, EU/EEA*, 2013–2022</a:t>
            </a:r>
            <a:endParaRPr lang="nl-NL" sz="2300"/>
          </a:p>
        </p:txBody>
      </p:sp>
      <p:sp>
        <p:nvSpPr>
          <p:cNvPr id="3" name="TextBox 2">
            <a:extLst>
              <a:ext uri="{FF2B5EF4-FFF2-40B4-BE49-F238E27FC236}">
                <a16:creationId xmlns:a16="http://schemas.microsoft.com/office/drawing/2014/main" id="{53BB1817-25AD-19F2-8332-2CB7568B5C02}"/>
              </a:ext>
            </a:extLst>
          </p:cNvPr>
          <p:cNvSpPr txBox="1"/>
          <p:nvPr/>
        </p:nvSpPr>
        <p:spPr>
          <a:xfrm>
            <a:off x="872802" y="1230443"/>
            <a:ext cx="10175109" cy="1303943"/>
          </a:xfrm>
          <a:prstGeom prst="snip2DiagRect">
            <a:avLst/>
          </a:prstGeom>
          <a:solidFill>
            <a:srgbClr val="ACDDEF">
              <a:alpha val="50000"/>
            </a:srgbClr>
          </a:solidFill>
        </p:spPr>
        <p:txBody>
          <a:bodyPr wrap="square" rtlCol="0">
            <a:spAutoFit/>
          </a:bodyPr>
          <a:lstStyle/>
          <a:p>
            <a:r>
              <a:rPr lang="en-GB" sz="1800"/>
              <a:t>The total number of notified RR/MDR TB cases decreased from </a:t>
            </a:r>
            <a:r>
              <a:rPr lang="en-GB" sz="1800" b="1"/>
              <a:t>1 446</a:t>
            </a:r>
            <a:r>
              <a:rPr lang="en-GB" sz="1800"/>
              <a:t> in 2013 to </a:t>
            </a:r>
            <a:r>
              <a:rPr lang="en-GB" sz="1800" b="1"/>
              <a:t>933</a:t>
            </a:r>
            <a:r>
              <a:rPr lang="en-GB" sz="1800"/>
              <a:t> in 2022</a:t>
            </a:r>
          </a:p>
          <a:p>
            <a:endParaRPr lang="en-GB" sz="1100"/>
          </a:p>
          <a:p>
            <a:r>
              <a:rPr lang="en-GB" sz="1800"/>
              <a:t>Proportion of RR/MDR TB cases among all TB cases with available DST</a:t>
            </a:r>
            <a:r>
              <a:rPr lang="en-GB" sz="1800" baseline="30000"/>
              <a:t>†</a:t>
            </a:r>
            <a:r>
              <a:rPr lang="en-GB" sz="1800"/>
              <a:t> results decreased from </a:t>
            </a:r>
            <a:r>
              <a:rPr lang="en-GB" sz="1800" b="1"/>
              <a:t>6.3%</a:t>
            </a:r>
            <a:r>
              <a:rPr lang="en-GB" sz="1800"/>
              <a:t> in 2013 to </a:t>
            </a:r>
            <a:r>
              <a:rPr lang="en-GB" sz="1800" b="1"/>
              <a:t>5.0%</a:t>
            </a:r>
            <a:r>
              <a:rPr lang="en-GB" sz="1800"/>
              <a:t> in 2022</a:t>
            </a:r>
          </a:p>
        </p:txBody>
      </p:sp>
      <p:sp>
        <p:nvSpPr>
          <p:cNvPr id="5" name="Rectangle 4">
            <a:extLst>
              <a:ext uri="{FF2B5EF4-FFF2-40B4-BE49-F238E27FC236}">
                <a16:creationId xmlns:a16="http://schemas.microsoft.com/office/drawing/2014/main" id="{A35F0591-AAFA-75EB-AD8B-61619E6A0712}"/>
              </a:ext>
            </a:extLst>
          </p:cNvPr>
          <p:cNvSpPr/>
          <p:nvPr/>
        </p:nvSpPr>
        <p:spPr>
          <a:xfrm>
            <a:off x="80320" y="6129165"/>
            <a:ext cx="9933692" cy="553998"/>
          </a:xfrm>
          <a:prstGeom prst="rect">
            <a:avLst/>
          </a:prstGeom>
        </p:spPr>
        <p:txBody>
          <a:bodyPr wrap="square">
            <a:spAutoFit/>
          </a:bodyPr>
          <a:lstStyle/>
          <a:p>
            <a:pPr>
              <a:lnSpc>
                <a:spcPct val="100000"/>
              </a:lnSpc>
              <a:spcBef>
                <a:spcPct val="30000"/>
              </a:spcBef>
              <a:defRPr/>
            </a:pPr>
            <a:r>
              <a:rPr lang="en-GB" sz="1000"/>
              <a:t>Countries and the years they are not included due to reporting discrepancies or no data: </a:t>
            </a:r>
            <a:r>
              <a:rPr lang="de-DE" sz="1000"/>
              <a:t>France (2013, 2015), Latvia (2018, 2019, 2020), Liechtenstein (2013, 2019-2020) and Spain (2013-2014).</a:t>
            </a:r>
            <a:br>
              <a:rPr lang="en-GB" sz="1000"/>
            </a:br>
            <a:r>
              <a:rPr lang="en-GB" sz="1000" spc="-30" baseline="30000"/>
              <a:t>†</a:t>
            </a:r>
            <a:r>
              <a:rPr lang="en-GB" sz="1000" spc="-30"/>
              <a:t>  DST – drug susceptibility test.</a:t>
            </a:r>
            <a:endParaRPr lang="en-GB" sz="1000"/>
          </a:p>
        </p:txBody>
      </p:sp>
      <p:sp>
        <p:nvSpPr>
          <p:cNvPr id="7" name="Text Box 83">
            <a:extLst>
              <a:ext uri="{FF2B5EF4-FFF2-40B4-BE49-F238E27FC236}">
                <a16:creationId xmlns:a16="http://schemas.microsoft.com/office/drawing/2014/main" id="{5FD41849-C986-A4B5-86AE-93AFA558043B}"/>
              </a:ext>
            </a:extLst>
          </p:cNvPr>
          <p:cNvSpPr txBox="1">
            <a:spLocks noChangeArrowheads="1"/>
          </p:cNvSpPr>
          <p:nvPr/>
        </p:nvSpPr>
        <p:spPr bwMode="auto">
          <a:xfrm>
            <a:off x="159805" y="6687490"/>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spTree>
    <p:extLst>
      <p:ext uri="{BB962C8B-B14F-4D97-AF65-F5344CB8AC3E}">
        <p14:creationId xmlns:p14="http://schemas.microsoft.com/office/powerpoint/2010/main" val="382621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4</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Pulmonary pre-XDR TB cases, EU/EEA, 2022</a:t>
            </a:r>
            <a:endParaRPr lang="nl-NL" sz="2800"/>
          </a:p>
        </p:txBody>
      </p:sp>
      <p:sp>
        <p:nvSpPr>
          <p:cNvPr id="3" name="TextBox 2">
            <a:extLst>
              <a:ext uri="{FF2B5EF4-FFF2-40B4-BE49-F238E27FC236}">
                <a16:creationId xmlns:a16="http://schemas.microsoft.com/office/drawing/2014/main" id="{B39FF5FC-5FB9-5376-4089-E19748FEC301}"/>
              </a:ext>
            </a:extLst>
          </p:cNvPr>
          <p:cNvSpPr txBox="1"/>
          <p:nvPr/>
        </p:nvSpPr>
        <p:spPr>
          <a:xfrm>
            <a:off x="641519" y="2146172"/>
            <a:ext cx="2810803" cy="3035379"/>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spc="-50"/>
              <a:t>135</a:t>
            </a:r>
            <a:r>
              <a:rPr lang="en-GB" sz="1800" spc="-50"/>
              <a:t> pre-XDR </a:t>
            </a:r>
            <a:r>
              <a:rPr lang="en-GB" sz="1800"/>
              <a:t>TB cases notified by all EU/EEA countries</a:t>
            </a:r>
          </a:p>
          <a:p>
            <a:pPr marL="92075">
              <a:lnSpc>
                <a:spcPct val="100000"/>
              </a:lnSpc>
            </a:pPr>
            <a:endParaRPr lang="en-GB" sz="1800" b="1" spc="-50">
              <a:highlight>
                <a:srgbClr val="FFFF00"/>
              </a:highlight>
            </a:endParaRPr>
          </a:p>
          <a:p>
            <a:pPr marL="92075">
              <a:lnSpc>
                <a:spcPct val="100000"/>
              </a:lnSpc>
            </a:pPr>
            <a:r>
              <a:rPr lang="en-GB" sz="1800" b="1" spc="-50"/>
              <a:t>26.9% </a:t>
            </a:r>
            <a:r>
              <a:rPr lang="en-GB" sz="1800" spc="-50"/>
              <a:t>of RR/MDR TB cases with second-line DST</a:t>
            </a:r>
            <a:r>
              <a:rPr lang="en-GB" sz="1800" spc="-50" baseline="30000"/>
              <a:t>†</a:t>
            </a:r>
            <a:r>
              <a:rPr lang="en-GB" sz="1800" spc="-50"/>
              <a:t> results met the pre-XDR TB definition</a:t>
            </a:r>
          </a:p>
        </p:txBody>
      </p:sp>
      <p:sp>
        <p:nvSpPr>
          <p:cNvPr id="5" name="Rectangle 4">
            <a:extLst>
              <a:ext uri="{FF2B5EF4-FFF2-40B4-BE49-F238E27FC236}">
                <a16:creationId xmlns:a16="http://schemas.microsoft.com/office/drawing/2014/main" id="{64D01FFD-309B-04B6-542B-7176B9AE015F}"/>
              </a:ext>
            </a:extLst>
          </p:cNvPr>
          <p:cNvSpPr/>
          <p:nvPr/>
        </p:nvSpPr>
        <p:spPr>
          <a:xfrm>
            <a:off x="45126" y="6008616"/>
            <a:ext cx="7842422" cy="400110"/>
          </a:xfrm>
          <a:prstGeom prst="rect">
            <a:avLst/>
          </a:prstGeom>
        </p:spPr>
        <p:txBody>
          <a:bodyPr wrap="square">
            <a:spAutoFit/>
          </a:bodyPr>
          <a:lstStyle/>
          <a:p>
            <a:pPr lvl="0">
              <a:lnSpc>
                <a:spcPct val="100000"/>
              </a:lnSpc>
              <a:spcBef>
                <a:spcPct val="30000"/>
              </a:spcBef>
              <a:defRPr/>
            </a:pPr>
            <a:r>
              <a:rPr lang="en-GB" sz="1000"/>
              <a:t> </a:t>
            </a:r>
            <a:br>
              <a:rPr lang="en-GB" sz="1000"/>
            </a:br>
            <a:r>
              <a:rPr lang="en-GB" sz="1000" spc="-30" baseline="30000"/>
              <a:t>†</a:t>
            </a:r>
            <a:r>
              <a:rPr lang="en-GB" sz="1000" spc="-30"/>
              <a:t>   DST – drug susceptibility test.</a:t>
            </a:r>
            <a:endParaRPr lang="en-GB" sz="1000"/>
          </a:p>
        </p:txBody>
      </p:sp>
      <p:sp>
        <p:nvSpPr>
          <p:cNvPr id="7" name="Text Box 83">
            <a:extLst>
              <a:ext uri="{FF2B5EF4-FFF2-40B4-BE49-F238E27FC236}">
                <a16:creationId xmlns:a16="http://schemas.microsoft.com/office/drawing/2014/main" id="{87FC3B4C-A6BD-BF13-5DD6-708EF826F37C}"/>
              </a:ext>
            </a:extLst>
          </p:cNvPr>
          <p:cNvSpPr txBox="1">
            <a:spLocks noChangeArrowheads="1"/>
          </p:cNvSpPr>
          <p:nvPr/>
        </p:nvSpPr>
        <p:spPr bwMode="auto">
          <a:xfrm>
            <a:off x="275216" y="6415830"/>
            <a:ext cx="3764124"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10" name="Picture 9" descr="A map of europe with different colored countries/regions&#10;&#10;Description automatically generated">
            <a:extLst>
              <a:ext uri="{FF2B5EF4-FFF2-40B4-BE49-F238E27FC236}">
                <a16:creationId xmlns:a16="http://schemas.microsoft.com/office/drawing/2014/main" id="{F9D1964B-3F63-868A-FD16-A3A986F3D5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39340" y="1098398"/>
            <a:ext cx="8152660" cy="5759602"/>
          </a:xfrm>
          <a:prstGeom prst="rect">
            <a:avLst/>
          </a:prstGeom>
        </p:spPr>
      </p:pic>
    </p:spTree>
    <p:extLst>
      <p:ext uri="{BB962C8B-B14F-4D97-AF65-F5344CB8AC3E}">
        <p14:creationId xmlns:p14="http://schemas.microsoft.com/office/powerpoint/2010/main" val="33272077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3E1203-E1E3-E167-E018-494B46372CE9}"/>
              </a:ext>
            </a:extLst>
          </p:cNvPr>
          <p:cNvPicPr>
            <a:picLocks noChangeAspect="1"/>
          </p:cNvPicPr>
          <p:nvPr/>
        </p:nvPicPr>
        <p:blipFill>
          <a:blip r:embed="rId2"/>
          <a:stretch>
            <a:fillRect/>
          </a:stretch>
        </p:blipFill>
        <p:spPr>
          <a:xfrm>
            <a:off x="2623930" y="2227843"/>
            <a:ext cx="6400996" cy="4001600"/>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5</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698988" y="323804"/>
            <a:ext cx="8325938" cy="753599"/>
          </a:xfrm>
        </p:spPr>
        <p:txBody>
          <a:bodyPr/>
          <a:lstStyle/>
          <a:p>
            <a:r>
              <a:rPr lang="en-GB" sz="2400"/>
              <a:t>Proportion of pulmonary pre-XDR TB among RR/MDR TB cases with 2</a:t>
            </a:r>
            <a:r>
              <a:rPr lang="en-GB" sz="2400" baseline="30000"/>
              <a:t>nd</a:t>
            </a:r>
            <a:r>
              <a:rPr lang="en-GB" sz="2400"/>
              <a:t> line DST results, EU/EEA*, 2022</a:t>
            </a:r>
            <a:endParaRPr lang="nl-NL" sz="2400"/>
          </a:p>
        </p:txBody>
      </p:sp>
      <p:sp>
        <p:nvSpPr>
          <p:cNvPr id="2" name="Content Placeholder 153">
            <a:extLst>
              <a:ext uri="{FF2B5EF4-FFF2-40B4-BE49-F238E27FC236}">
                <a16:creationId xmlns:a16="http://schemas.microsoft.com/office/drawing/2014/main" id="{7A87A670-85B8-BDA0-4B62-D2D5F55B09E9}"/>
              </a:ext>
            </a:extLst>
          </p:cNvPr>
          <p:cNvSpPr txBox="1">
            <a:spLocks/>
          </p:cNvSpPr>
          <p:nvPr/>
        </p:nvSpPr>
        <p:spPr>
          <a:xfrm>
            <a:off x="709947" y="1077403"/>
            <a:ext cx="10214913" cy="1150440"/>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GB" sz="1800" b="1"/>
              <a:t>135 </a:t>
            </a:r>
            <a:r>
              <a:rPr lang="en-GB" sz="1800"/>
              <a:t>pulmonary pre-XDR TB cases notified in 19 EU/EEA countries* </a:t>
            </a:r>
          </a:p>
          <a:p>
            <a:r>
              <a:rPr lang="en-GB" sz="1800" b="1"/>
              <a:t>26.9%</a:t>
            </a:r>
            <a:r>
              <a:rPr lang="en-GB" sz="1800"/>
              <a:t> of all bacteriologically-confirmed RR/MDR TB cases with </a:t>
            </a:r>
            <a:r>
              <a:rPr lang="en-GB" sz="1800" spc="-50"/>
              <a:t>second-line DST</a:t>
            </a:r>
            <a:r>
              <a:rPr lang="en-GB" sz="1800" spc="-50" baseline="30000"/>
              <a:t>†</a:t>
            </a:r>
            <a:r>
              <a:rPr lang="en-GB" sz="1800" spc="-50"/>
              <a:t> results </a:t>
            </a:r>
            <a:r>
              <a:rPr lang="en-GB" sz="1800"/>
              <a:t>(range 0.0–100.0%)</a:t>
            </a:r>
          </a:p>
        </p:txBody>
      </p:sp>
      <p:sp>
        <p:nvSpPr>
          <p:cNvPr id="7" name="Text Box 83">
            <a:extLst>
              <a:ext uri="{FF2B5EF4-FFF2-40B4-BE49-F238E27FC236}">
                <a16:creationId xmlns:a16="http://schemas.microsoft.com/office/drawing/2014/main" id="{B5EBBFE4-094D-0BC9-B4FB-F44906040DFA}"/>
              </a:ext>
            </a:extLst>
          </p:cNvPr>
          <p:cNvSpPr txBox="1">
            <a:spLocks noChangeArrowheads="1"/>
          </p:cNvSpPr>
          <p:nvPr/>
        </p:nvSpPr>
        <p:spPr bwMode="auto">
          <a:xfrm>
            <a:off x="265979" y="6653512"/>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sp>
        <p:nvSpPr>
          <p:cNvPr id="5" name="Rectangle 4">
            <a:extLst>
              <a:ext uri="{FF2B5EF4-FFF2-40B4-BE49-F238E27FC236}">
                <a16:creationId xmlns:a16="http://schemas.microsoft.com/office/drawing/2014/main" id="{DF9E1052-1952-9F8A-41AD-CECCE82AC3CC}"/>
              </a:ext>
            </a:extLst>
          </p:cNvPr>
          <p:cNvSpPr/>
          <p:nvPr/>
        </p:nvSpPr>
        <p:spPr>
          <a:xfrm>
            <a:off x="75471" y="6108581"/>
            <a:ext cx="10920224" cy="553998"/>
          </a:xfrm>
          <a:prstGeom prst="rect">
            <a:avLst/>
          </a:prstGeom>
        </p:spPr>
        <p:txBody>
          <a:bodyPr wrap="square">
            <a:spAutoFit/>
          </a:bodyPr>
          <a:lstStyle/>
          <a:p>
            <a:pPr lvl="0">
              <a:lnSpc>
                <a:spcPct val="100000"/>
              </a:lnSpc>
              <a:spcBef>
                <a:spcPct val="30000"/>
              </a:spcBef>
              <a:defRPr/>
            </a:pPr>
            <a:r>
              <a:rPr lang="en-GB" sz="1000"/>
              <a:t>* The graph shows countries that reported pre-XDR TB cases. No pre-XDR TB cases were reported by Belgium, Croatia, Cyprus, Denmark, Greece,</a:t>
            </a:r>
            <a:br>
              <a:rPr lang="en-GB" sz="1000"/>
            </a:br>
            <a:r>
              <a:rPr lang="en-GB" sz="1000"/>
              <a:t>   Iceland, Liechtenstein, Luxembourg, Malta, Portugal and Spain.     </a:t>
            </a:r>
            <a:br>
              <a:rPr lang="en-GB" sz="1000"/>
            </a:br>
            <a:r>
              <a:rPr lang="en-GB" sz="1000" spc="-30" baseline="30000"/>
              <a:t>†</a:t>
            </a:r>
            <a:r>
              <a:rPr lang="en-GB" sz="1000" spc="-30"/>
              <a:t>  DST – drug susceptibility test.</a:t>
            </a:r>
            <a:endParaRPr lang="en-GB" sz="1000"/>
          </a:p>
        </p:txBody>
      </p:sp>
    </p:spTree>
    <p:extLst>
      <p:ext uri="{BB962C8B-B14F-4D97-AF65-F5344CB8AC3E}">
        <p14:creationId xmlns:p14="http://schemas.microsoft.com/office/powerpoint/2010/main" val="40668360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4ED476-2A88-7DBE-815C-AD99EFD22C3F}"/>
              </a:ext>
            </a:extLst>
          </p:cNvPr>
          <p:cNvPicPr>
            <a:picLocks noChangeAspect="1"/>
          </p:cNvPicPr>
          <p:nvPr/>
        </p:nvPicPr>
        <p:blipFill>
          <a:blip r:embed="rId2"/>
          <a:stretch>
            <a:fillRect/>
          </a:stretch>
        </p:blipFill>
        <p:spPr>
          <a:xfrm>
            <a:off x="2663687" y="2716631"/>
            <a:ext cx="6565278" cy="3492320"/>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6</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93603" y="156452"/>
            <a:ext cx="8435138" cy="822325"/>
          </a:xfrm>
        </p:spPr>
        <p:txBody>
          <a:bodyPr/>
          <a:lstStyle/>
          <a:p>
            <a:r>
              <a:rPr lang="en-GB" sz="2800">
                <a:solidFill>
                  <a:schemeClr val="tx1"/>
                </a:solidFill>
              </a:rPr>
              <a:t>Pulmonary pre-XDR TB cases and proportion among all pulmonary RR/MDR TB cases with 2</a:t>
            </a:r>
            <a:r>
              <a:rPr lang="en-GB" sz="2800" baseline="30000">
                <a:solidFill>
                  <a:schemeClr val="tx1"/>
                </a:solidFill>
              </a:rPr>
              <a:t>nd</a:t>
            </a:r>
            <a:r>
              <a:rPr lang="en-GB" sz="2800">
                <a:solidFill>
                  <a:schemeClr val="tx1"/>
                </a:solidFill>
              </a:rPr>
              <a:t> line DST results, EU/EEA*, 2013–2022</a:t>
            </a:r>
            <a:endParaRPr lang="nl-NL" sz="2800">
              <a:solidFill>
                <a:schemeClr val="tx1"/>
              </a:solidFill>
            </a:endParaRPr>
          </a:p>
        </p:txBody>
      </p:sp>
      <p:sp>
        <p:nvSpPr>
          <p:cNvPr id="3" name="Content Placeholder 153">
            <a:extLst>
              <a:ext uri="{FF2B5EF4-FFF2-40B4-BE49-F238E27FC236}">
                <a16:creationId xmlns:a16="http://schemas.microsoft.com/office/drawing/2014/main" id="{6DA57DAC-C679-6E9B-E64E-9AE2B340DF81}"/>
              </a:ext>
            </a:extLst>
          </p:cNvPr>
          <p:cNvSpPr txBox="1">
            <a:spLocks/>
          </p:cNvSpPr>
          <p:nvPr/>
        </p:nvSpPr>
        <p:spPr>
          <a:xfrm>
            <a:off x="384164" y="1432268"/>
            <a:ext cx="11279836" cy="1334094"/>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GB"/>
              <a:t>The total number of pulmonary pre-XDR TB cases peaked at </a:t>
            </a:r>
            <a:r>
              <a:rPr lang="en-GB" b="1"/>
              <a:t>347</a:t>
            </a:r>
            <a:r>
              <a:rPr lang="en-GB"/>
              <a:t> in 2014 and decreased to </a:t>
            </a:r>
            <a:r>
              <a:rPr lang="en-GB" b="1"/>
              <a:t>112</a:t>
            </a:r>
            <a:r>
              <a:rPr lang="en-GB"/>
              <a:t> in 2021, and was 135 in 2022 </a:t>
            </a:r>
          </a:p>
          <a:p>
            <a:r>
              <a:rPr lang="en-GB"/>
              <a:t>The proportion of pre-XDR TB cases among pulmonary RR/MDR TB cases ranged between </a:t>
            </a:r>
            <a:r>
              <a:rPr lang="en-GB" b="1"/>
              <a:t>26.9%</a:t>
            </a:r>
            <a:r>
              <a:rPr lang="en-GB"/>
              <a:t> in 2022 to </a:t>
            </a:r>
            <a:r>
              <a:rPr lang="en-GB" b="1"/>
              <a:t>36.3%</a:t>
            </a:r>
            <a:r>
              <a:rPr lang="en-GB"/>
              <a:t> in 2014</a:t>
            </a:r>
            <a:endParaRPr lang="en-GB" b="1"/>
          </a:p>
        </p:txBody>
      </p:sp>
      <p:sp>
        <p:nvSpPr>
          <p:cNvPr id="5" name="Rectangle 4">
            <a:extLst>
              <a:ext uri="{FF2B5EF4-FFF2-40B4-BE49-F238E27FC236}">
                <a16:creationId xmlns:a16="http://schemas.microsoft.com/office/drawing/2014/main" id="{1C6EA2FE-3772-9292-4C8E-3F4A34319641}"/>
              </a:ext>
            </a:extLst>
          </p:cNvPr>
          <p:cNvSpPr/>
          <p:nvPr/>
        </p:nvSpPr>
        <p:spPr>
          <a:xfrm>
            <a:off x="101060" y="6403934"/>
            <a:ext cx="10284940" cy="246221"/>
          </a:xfrm>
          <a:prstGeom prst="rect">
            <a:avLst/>
          </a:prstGeom>
        </p:spPr>
        <p:txBody>
          <a:bodyPr wrap="square">
            <a:spAutoFit/>
          </a:bodyPr>
          <a:lstStyle/>
          <a:p>
            <a:r>
              <a:rPr lang="en-GB" sz="1000"/>
              <a:t>* Countries and the years for which they are not included due to reporting discrepancies or no data: Latvia (2018-2020), Liechtenstein (2019).</a:t>
            </a:r>
          </a:p>
        </p:txBody>
      </p:sp>
      <p:sp>
        <p:nvSpPr>
          <p:cNvPr id="7" name="Text Box 83">
            <a:extLst>
              <a:ext uri="{FF2B5EF4-FFF2-40B4-BE49-F238E27FC236}">
                <a16:creationId xmlns:a16="http://schemas.microsoft.com/office/drawing/2014/main" id="{ACD2A694-B0E2-7E77-E951-0C8C5214B741}"/>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spTree>
    <p:extLst>
      <p:ext uri="{BB962C8B-B14F-4D97-AF65-F5344CB8AC3E}">
        <p14:creationId xmlns:p14="http://schemas.microsoft.com/office/powerpoint/2010/main" val="246525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7</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TB/HIV co-infection</a:t>
            </a:r>
            <a:r>
              <a:rPr lang="en-GB" sz="2000" baseline="30000"/>
              <a:t>†</a:t>
            </a:r>
            <a:r>
              <a:rPr lang="en-GB" sz="2800"/>
              <a:t>, EU/EEA*, 2022</a:t>
            </a:r>
            <a:endParaRPr lang="nl-NL" sz="2800"/>
          </a:p>
        </p:txBody>
      </p:sp>
      <p:sp>
        <p:nvSpPr>
          <p:cNvPr id="3" name="TextBox 2">
            <a:extLst>
              <a:ext uri="{FF2B5EF4-FFF2-40B4-BE49-F238E27FC236}">
                <a16:creationId xmlns:a16="http://schemas.microsoft.com/office/drawing/2014/main" id="{F4B40794-7239-232F-9BCC-AE7D5721A45D}"/>
              </a:ext>
            </a:extLst>
          </p:cNvPr>
          <p:cNvSpPr txBox="1"/>
          <p:nvPr/>
        </p:nvSpPr>
        <p:spPr>
          <a:xfrm>
            <a:off x="649017" y="1693176"/>
            <a:ext cx="2453588" cy="3812798"/>
          </a:xfrm>
          <a:prstGeom prst="snip2DiagRect">
            <a:avLst/>
          </a:prstGeom>
          <a:solidFill>
            <a:srgbClr val="ACDDEF">
              <a:alpha val="50000"/>
            </a:srgbClr>
          </a:solidFill>
        </p:spPr>
        <p:txBody>
          <a:bodyPr wrap="square" rtlCol="0">
            <a:spAutoFit/>
          </a:bodyPr>
          <a:lstStyle/>
          <a:p>
            <a:pPr marL="96834"/>
            <a:r>
              <a:rPr lang="en-GB" sz="1800" b="1"/>
              <a:t>620 </a:t>
            </a:r>
            <a:r>
              <a:rPr lang="en-GB" sz="1800"/>
              <a:t>HIV-positive TB cases were notified by 21 EU/EEA countries in 2022 </a:t>
            </a:r>
          </a:p>
          <a:p>
            <a:pPr marL="96834"/>
            <a:endParaRPr lang="en-GB" sz="1800" b="1"/>
          </a:p>
          <a:p>
            <a:pPr marL="96834"/>
            <a:r>
              <a:rPr lang="en-GB" sz="1800" b="1"/>
              <a:t>4.1% </a:t>
            </a:r>
            <a:r>
              <a:rPr lang="en-GB" sz="1800"/>
              <a:t>of TB cases with known HIV status were HIV-positive (range 0.0–18.5%)</a:t>
            </a:r>
          </a:p>
        </p:txBody>
      </p:sp>
      <p:sp>
        <p:nvSpPr>
          <p:cNvPr id="5" name="Rectangle 4">
            <a:extLst>
              <a:ext uri="{FF2B5EF4-FFF2-40B4-BE49-F238E27FC236}">
                <a16:creationId xmlns:a16="http://schemas.microsoft.com/office/drawing/2014/main" id="{738B5B00-6228-FB47-1BB1-56A34FFC795A}"/>
              </a:ext>
            </a:extLst>
          </p:cNvPr>
          <p:cNvSpPr/>
          <p:nvPr/>
        </p:nvSpPr>
        <p:spPr>
          <a:xfrm>
            <a:off x="101098" y="5902589"/>
            <a:ext cx="4115795" cy="954107"/>
          </a:xfrm>
          <a:prstGeom prst="rect">
            <a:avLst/>
          </a:prstGeom>
        </p:spPr>
        <p:txBody>
          <a:bodyPr wrap="square" lIns="91440" tIns="45720" rIns="91440" bIns="45720" anchor="t">
            <a:spAutoFit/>
          </a:bodyPr>
          <a:lstStyle/>
          <a:p>
            <a:pPr>
              <a:spcBef>
                <a:spcPct val="30000"/>
              </a:spcBef>
              <a:defRPr/>
            </a:pPr>
            <a:r>
              <a:rPr lang="en-GB" sz="1000"/>
              <a:t>* Nine countries did not report HIV status data: Austria, Finland, France, Germany, Iceland, Italy, Liechtenstein, Poland and Sweden. </a:t>
            </a:r>
          </a:p>
          <a:p>
            <a:pPr>
              <a:spcBef>
                <a:spcPct val="30000"/>
              </a:spcBef>
              <a:defRPr/>
            </a:pPr>
            <a:r>
              <a:rPr lang="en-GB" sz="1000" baseline="30000">
                <a:ea typeface="+mn-lt"/>
                <a:cs typeface="+mn-lt"/>
              </a:rPr>
              <a:t>†</a:t>
            </a:r>
            <a:r>
              <a:rPr lang="en-GB" sz="1000">
                <a:ea typeface="+mn-lt"/>
                <a:cs typeface="+mn-lt"/>
              </a:rPr>
              <a:t>  HIV-positive TB cases only includes new and relapsed cases.</a:t>
            </a:r>
            <a:endParaRPr lang="en-GB">
              <a:ea typeface="+mn-lt"/>
              <a:cs typeface="+mn-lt"/>
            </a:endParaRPr>
          </a:p>
          <a:p>
            <a:pPr>
              <a:lnSpc>
                <a:spcPct val="100000"/>
              </a:lnSpc>
              <a:spcBef>
                <a:spcPct val="30000"/>
              </a:spcBef>
              <a:defRPr/>
            </a:pPr>
            <a:br>
              <a:rPr lang="en-GB" sz="1000"/>
            </a:br>
            <a:endParaRPr lang="en-GB" sz="1000">
              <a:ea typeface="Tahoma"/>
              <a:cs typeface="Tahoma"/>
            </a:endParaRPr>
          </a:p>
        </p:txBody>
      </p:sp>
      <p:sp>
        <p:nvSpPr>
          <p:cNvPr id="9" name="Text Box 83">
            <a:extLst>
              <a:ext uri="{FF2B5EF4-FFF2-40B4-BE49-F238E27FC236}">
                <a16:creationId xmlns:a16="http://schemas.microsoft.com/office/drawing/2014/main" id="{83AE952A-87B0-FF8F-A0CB-C49BBC4D054E}"/>
              </a:ext>
            </a:extLst>
          </p:cNvPr>
          <p:cNvSpPr txBox="1">
            <a:spLocks noChangeArrowheads="1"/>
          </p:cNvSpPr>
          <p:nvPr/>
        </p:nvSpPr>
        <p:spPr bwMode="auto">
          <a:xfrm>
            <a:off x="197290" y="6537928"/>
            <a:ext cx="3913071"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7" name="Picture 6" descr="A map of europe with different colored countries/regions&#10;&#10;Description automatically generated">
            <a:extLst>
              <a:ext uri="{FF2B5EF4-FFF2-40B4-BE49-F238E27FC236}">
                <a16:creationId xmlns:a16="http://schemas.microsoft.com/office/drawing/2014/main" id="{BD6330FD-B7BB-CD29-D0E1-4A4BDD2EDC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62839" y="1105020"/>
            <a:ext cx="8143285" cy="5752979"/>
          </a:xfrm>
          <a:prstGeom prst="rect">
            <a:avLst/>
          </a:prstGeom>
        </p:spPr>
      </p:pic>
    </p:spTree>
    <p:extLst>
      <p:ext uri="{BB962C8B-B14F-4D97-AF65-F5344CB8AC3E}">
        <p14:creationId xmlns:p14="http://schemas.microsoft.com/office/powerpoint/2010/main" val="2441131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8F7DD4E-C422-C7BB-A464-D6A53073CFA0}"/>
              </a:ext>
            </a:extLst>
          </p:cNvPr>
          <p:cNvPicPr>
            <a:picLocks noChangeAspect="1"/>
          </p:cNvPicPr>
          <p:nvPr/>
        </p:nvPicPr>
        <p:blipFill>
          <a:blip r:embed="rId2"/>
          <a:stretch>
            <a:fillRect/>
          </a:stretch>
        </p:blipFill>
        <p:spPr>
          <a:xfrm>
            <a:off x="2778456" y="2226328"/>
            <a:ext cx="5998984" cy="3987130"/>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8</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160483" cy="822325"/>
          </a:xfrm>
        </p:spPr>
        <p:txBody>
          <a:bodyPr/>
          <a:lstStyle/>
          <a:p>
            <a:r>
              <a:rPr lang="en-GB" sz="2800">
                <a:latin typeface="Tahoma"/>
                <a:ea typeface="Tahoma"/>
                <a:cs typeface="Tahoma"/>
              </a:rPr>
              <a:t>HIV-positive TB cases</a:t>
            </a:r>
            <a:r>
              <a:rPr lang="en-GB" sz="2800" spc="-30" baseline="30000">
                <a:latin typeface="Tahoma"/>
                <a:ea typeface="Tahoma"/>
                <a:cs typeface="Tahoma"/>
              </a:rPr>
              <a:t> </a:t>
            </a:r>
            <a:r>
              <a:rPr lang="en-GB" sz="2800">
                <a:latin typeface="Tahoma"/>
                <a:ea typeface="Tahoma"/>
                <a:cs typeface="Tahoma"/>
              </a:rPr>
              <a:t> and proportion among all those tested, EU/EEA, 2013–2022*</a:t>
            </a:r>
            <a:endParaRPr lang="nl-NL" sz="2800">
              <a:latin typeface="Tahoma"/>
              <a:ea typeface="Tahoma"/>
              <a:cs typeface="Tahoma"/>
            </a:endParaRPr>
          </a:p>
        </p:txBody>
      </p:sp>
      <p:sp>
        <p:nvSpPr>
          <p:cNvPr id="3" name="TextBox 2">
            <a:extLst>
              <a:ext uri="{FF2B5EF4-FFF2-40B4-BE49-F238E27FC236}">
                <a16:creationId xmlns:a16="http://schemas.microsoft.com/office/drawing/2014/main" id="{1DC9CB1F-8F7E-E295-6FCC-ABCEB15D6DB8}"/>
              </a:ext>
            </a:extLst>
          </p:cNvPr>
          <p:cNvSpPr txBox="1"/>
          <p:nvPr/>
        </p:nvSpPr>
        <p:spPr>
          <a:xfrm>
            <a:off x="644331" y="1105021"/>
            <a:ext cx="11100256" cy="1303943"/>
          </a:xfrm>
          <a:prstGeom prst="snip2DiagRect">
            <a:avLst/>
          </a:prstGeom>
          <a:solidFill>
            <a:srgbClr val="ACDDEF">
              <a:alpha val="50000"/>
            </a:srgbClr>
          </a:solidFill>
        </p:spPr>
        <p:txBody>
          <a:bodyPr wrap="square" rtlCol="0">
            <a:spAutoFit/>
          </a:bodyPr>
          <a:lstStyle/>
          <a:p>
            <a:r>
              <a:rPr lang="en-GB" sz="1800"/>
              <a:t>The total number of HIV-positive TB cases decreased from </a:t>
            </a:r>
            <a:r>
              <a:rPr lang="en-GB" sz="1800" b="1"/>
              <a:t>1 090</a:t>
            </a:r>
            <a:r>
              <a:rPr lang="en-GB" sz="1800"/>
              <a:t> in 2013 to </a:t>
            </a:r>
            <a:r>
              <a:rPr lang="en-GB" sz="1800" b="1"/>
              <a:t>504</a:t>
            </a:r>
            <a:r>
              <a:rPr lang="en-GB" sz="1800"/>
              <a:t> in 2020 and reached </a:t>
            </a:r>
            <a:r>
              <a:rPr lang="en-GB" sz="1800" b="1"/>
              <a:t>620</a:t>
            </a:r>
            <a:r>
              <a:rPr lang="en-GB" sz="1800"/>
              <a:t> cases in 2022</a:t>
            </a:r>
          </a:p>
          <a:p>
            <a:endParaRPr lang="en-GB" sz="1100"/>
          </a:p>
          <a:p>
            <a:r>
              <a:rPr lang="en-GB" sz="1800" spc="-40"/>
              <a:t>The proportion of HIV-positive TB cases among those tested decreased from </a:t>
            </a:r>
            <a:r>
              <a:rPr lang="en-GB" sz="1800" b="1" spc="-40"/>
              <a:t>5.0%</a:t>
            </a:r>
            <a:r>
              <a:rPr lang="en-GB" sz="1800" spc="-40"/>
              <a:t> in 2013 to </a:t>
            </a:r>
            <a:r>
              <a:rPr lang="en-GB" sz="1800" b="1" spc="-40"/>
              <a:t>4.1%</a:t>
            </a:r>
            <a:r>
              <a:rPr lang="en-GB" sz="1800" spc="-40"/>
              <a:t> in 2022</a:t>
            </a:r>
          </a:p>
        </p:txBody>
      </p:sp>
      <p:sp>
        <p:nvSpPr>
          <p:cNvPr id="5" name="Rectangle 4">
            <a:extLst>
              <a:ext uri="{FF2B5EF4-FFF2-40B4-BE49-F238E27FC236}">
                <a16:creationId xmlns:a16="http://schemas.microsoft.com/office/drawing/2014/main" id="{09E63D66-116F-5783-4CD2-6787F5F9D484}"/>
              </a:ext>
            </a:extLst>
          </p:cNvPr>
          <p:cNvSpPr/>
          <p:nvPr/>
        </p:nvSpPr>
        <p:spPr>
          <a:xfrm>
            <a:off x="137235" y="6103947"/>
            <a:ext cx="10675749" cy="754053"/>
          </a:xfrm>
          <a:prstGeom prst="rect">
            <a:avLst/>
          </a:prstGeom>
        </p:spPr>
        <p:txBody>
          <a:bodyPr wrap="square" lIns="91440" tIns="45720" rIns="91440" bIns="45720" anchor="t">
            <a:spAutoFit/>
          </a:bodyPr>
          <a:lstStyle/>
          <a:p>
            <a:pPr>
              <a:spcBef>
                <a:spcPct val="30000"/>
              </a:spcBef>
              <a:defRPr/>
            </a:pPr>
            <a:r>
              <a:rPr lang="en-GB" sz="1000"/>
              <a:t>* Countries and the years for which they are not included due to reporting discrepancies or no data: Austria (all years), Croatia (2013-2015), Cyprus (2013), </a:t>
            </a:r>
            <a:br>
              <a:rPr lang="en-GB" sz="1000"/>
            </a:br>
            <a:r>
              <a:rPr lang="en-GB" sz="1000"/>
              <a:t>   Denmark (2013), Finland (all years), France (all years), Germany (all years), Hungary (2013), Iceland (2020-2022), Italy (all years), Latvia (2018-2020), </a:t>
            </a:r>
            <a:br>
              <a:rPr lang="en-GB" sz="1000"/>
            </a:br>
            <a:r>
              <a:rPr lang="en-GB" sz="1000"/>
              <a:t>   Liechtenstein (all years), Poland (all years) and Sweden (all years). </a:t>
            </a:r>
            <a:endParaRPr lang="en-GB" sz="1000">
              <a:ea typeface="Tahoma"/>
              <a:cs typeface="Tahoma"/>
            </a:endParaRPr>
          </a:p>
          <a:p>
            <a:pPr lvl="0">
              <a:lnSpc>
                <a:spcPct val="100000"/>
              </a:lnSpc>
              <a:spcBef>
                <a:spcPct val="30000"/>
              </a:spcBef>
              <a:defRPr/>
            </a:pPr>
            <a:endParaRPr lang="en-GB" sz="1000"/>
          </a:p>
        </p:txBody>
      </p:sp>
      <p:sp>
        <p:nvSpPr>
          <p:cNvPr id="7" name="Text Box 83">
            <a:extLst>
              <a:ext uri="{FF2B5EF4-FFF2-40B4-BE49-F238E27FC236}">
                <a16:creationId xmlns:a16="http://schemas.microsoft.com/office/drawing/2014/main" id="{8E55EDE3-8435-85C0-E70D-097F270659CB}"/>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spTree>
    <p:extLst>
      <p:ext uri="{BB962C8B-B14F-4D97-AF65-F5344CB8AC3E}">
        <p14:creationId xmlns:p14="http://schemas.microsoft.com/office/powerpoint/2010/main" val="611547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19</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39491" y="149933"/>
            <a:ext cx="8137037" cy="822325"/>
          </a:xfrm>
        </p:spPr>
        <p:txBody>
          <a:bodyPr/>
          <a:lstStyle/>
          <a:p>
            <a:r>
              <a:rPr lang="en-GB" sz="2800">
                <a:solidFill>
                  <a:schemeClr val="tx1"/>
                </a:solidFill>
              </a:rPr>
              <a:t>Treatment success after 12 months among </a:t>
            </a:r>
            <a:br>
              <a:rPr lang="en-GB" sz="2800">
                <a:solidFill>
                  <a:schemeClr val="tx1"/>
                </a:solidFill>
              </a:rPr>
            </a:br>
            <a:r>
              <a:rPr lang="en-GB" sz="2800">
                <a:solidFill>
                  <a:schemeClr val="tx1"/>
                </a:solidFill>
              </a:rPr>
              <a:t>new and relapse TB cases notified in 2021, EU/EEA*, 2022</a:t>
            </a:r>
            <a:endParaRPr lang="nl-NL" sz="2800">
              <a:solidFill>
                <a:schemeClr val="tx1"/>
              </a:solidFill>
            </a:endParaRPr>
          </a:p>
        </p:txBody>
      </p:sp>
      <p:sp>
        <p:nvSpPr>
          <p:cNvPr id="3" name="TextBox 2">
            <a:extLst>
              <a:ext uri="{FF2B5EF4-FFF2-40B4-BE49-F238E27FC236}">
                <a16:creationId xmlns:a16="http://schemas.microsoft.com/office/drawing/2014/main" id="{2A8E666F-2F25-C9A8-F293-6EE94933E29A}"/>
              </a:ext>
            </a:extLst>
          </p:cNvPr>
          <p:cNvSpPr txBox="1"/>
          <p:nvPr/>
        </p:nvSpPr>
        <p:spPr>
          <a:xfrm>
            <a:off x="500995" y="2332585"/>
            <a:ext cx="2564422" cy="2424232"/>
          </a:xfrm>
          <a:prstGeom prst="snip2DiagRect">
            <a:avLst/>
          </a:prstGeom>
          <a:solidFill>
            <a:srgbClr val="ACDDEF">
              <a:alpha val="50000"/>
            </a:srgbClr>
          </a:solidFill>
        </p:spPr>
        <p:txBody>
          <a:bodyPr wrap="square" rtlCol="0">
            <a:spAutoFit/>
          </a:bodyPr>
          <a:lstStyle/>
          <a:p>
            <a:pPr marL="96834"/>
            <a:r>
              <a:rPr lang="en-US" sz="1800" b="1"/>
              <a:t>64.0%</a:t>
            </a:r>
            <a:r>
              <a:rPr lang="en-US" sz="1800"/>
              <a:t> of all </a:t>
            </a:r>
            <a:br>
              <a:rPr lang="en-US" sz="1800"/>
            </a:br>
            <a:r>
              <a:rPr lang="en-US" sz="1800"/>
              <a:t>TB cases had a successful treatment outcome after </a:t>
            </a:r>
            <a:br>
              <a:rPr lang="en-US" sz="1800"/>
            </a:br>
            <a:r>
              <a:rPr lang="en-US" sz="1800"/>
              <a:t>12 months (range 3.4–100.0%) </a:t>
            </a:r>
            <a:endParaRPr lang="en-GB" sz="1800"/>
          </a:p>
        </p:txBody>
      </p:sp>
      <p:sp>
        <p:nvSpPr>
          <p:cNvPr id="5" name="Rectangle 4">
            <a:extLst>
              <a:ext uri="{FF2B5EF4-FFF2-40B4-BE49-F238E27FC236}">
                <a16:creationId xmlns:a16="http://schemas.microsoft.com/office/drawing/2014/main" id="{ED5EC4CB-D65D-2FBE-E36F-8ACF6D37C081}"/>
              </a:ext>
            </a:extLst>
          </p:cNvPr>
          <p:cNvSpPr/>
          <p:nvPr/>
        </p:nvSpPr>
        <p:spPr>
          <a:xfrm>
            <a:off x="77924" y="6148549"/>
            <a:ext cx="3959307" cy="400110"/>
          </a:xfrm>
          <a:prstGeom prst="rect">
            <a:avLst/>
          </a:prstGeom>
        </p:spPr>
        <p:txBody>
          <a:bodyPr wrap="square">
            <a:spAutoFit/>
          </a:bodyPr>
          <a:lstStyle/>
          <a:p>
            <a:pPr lvl="0">
              <a:lnSpc>
                <a:spcPct val="100000"/>
              </a:lnSpc>
              <a:spcBef>
                <a:spcPct val="30000"/>
              </a:spcBef>
              <a:defRPr/>
            </a:pPr>
            <a:r>
              <a:rPr lang="en-GB" sz="1000"/>
              <a:t>* Five countries did not report treatment outcome data: Greece, Italy, Latvia, Luxembourg and Poland. </a:t>
            </a:r>
          </a:p>
        </p:txBody>
      </p:sp>
      <p:sp>
        <p:nvSpPr>
          <p:cNvPr id="7" name="Text Box 83">
            <a:extLst>
              <a:ext uri="{FF2B5EF4-FFF2-40B4-BE49-F238E27FC236}">
                <a16:creationId xmlns:a16="http://schemas.microsoft.com/office/drawing/2014/main" id="{4D03E405-F58D-8BAA-5044-98BFD2645847}"/>
              </a:ext>
            </a:extLst>
          </p:cNvPr>
          <p:cNvSpPr txBox="1">
            <a:spLocks noChangeArrowheads="1"/>
          </p:cNvSpPr>
          <p:nvPr/>
        </p:nvSpPr>
        <p:spPr bwMode="auto">
          <a:xfrm>
            <a:off x="124933" y="6548659"/>
            <a:ext cx="3736853"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9" name="Picture 8" descr="A map of europe with different colored countries/regions&#10;&#10;Description automatically generated">
            <a:extLst>
              <a:ext uri="{FF2B5EF4-FFF2-40B4-BE49-F238E27FC236}">
                <a16:creationId xmlns:a16="http://schemas.microsoft.com/office/drawing/2014/main" id="{4F825646-66A4-92FE-39ED-71DFB54408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19574" y="1234606"/>
            <a:ext cx="7972425" cy="5632271"/>
          </a:xfrm>
          <a:prstGeom prst="rect">
            <a:avLst/>
          </a:prstGeom>
        </p:spPr>
      </p:pic>
    </p:spTree>
    <p:extLst>
      <p:ext uri="{BB962C8B-B14F-4D97-AF65-F5344CB8AC3E}">
        <p14:creationId xmlns:p14="http://schemas.microsoft.com/office/powerpoint/2010/main" val="782025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map of europe with different colored areas&#10;&#10;Description automatically generated">
            <a:extLst>
              <a:ext uri="{FF2B5EF4-FFF2-40B4-BE49-F238E27FC236}">
                <a16:creationId xmlns:a16="http://schemas.microsoft.com/office/drawing/2014/main" id="{1C58B5B8-993F-4A45-A38A-378C7C2A11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83592" y="1200308"/>
            <a:ext cx="8008408" cy="5657692"/>
          </a:xfrm>
          <a:prstGeom prst="rect">
            <a:avLst/>
          </a:prstGeom>
        </p:spPr>
      </p:pic>
      <p:sp>
        <p:nvSpPr>
          <p:cNvPr id="2" name="Title 1">
            <a:extLst>
              <a:ext uri="{FF2B5EF4-FFF2-40B4-BE49-F238E27FC236}">
                <a16:creationId xmlns:a16="http://schemas.microsoft.com/office/drawing/2014/main" id="{BE12CCA3-FF73-B2C9-CDE8-85835D403042}"/>
              </a:ext>
            </a:extLst>
          </p:cNvPr>
          <p:cNvSpPr>
            <a:spLocks noGrp="1"/>
          </p:cNvSpPr>
          <p:nvPr>
            <p:ph type="title"/>
          </p:nvPr>
        </p:nvSpPr>
        <p:spPr>
          <a:xfrm>
            <a:off x="1026605" y="377983"/>
            <a:ext cx="10318363" cy="822325"/>
          </a:xfrm>
        </p:spPr>
        <p:txBody>
          <a:bodyPr/>
          <a:lstStyle/>
          <a:p>
            <a:r>
              <a:rPr lang="en-GB" sz="2800"/>
              <a:t>TB notifications, EU/EEA, 2022</a:t>
            </a:r>
          </a:p>
        </p:txBody>
      </p:sp>
      <p:sp>
        <p:nvSpPr>
          <p:cNvPr id="4" name="Slide Number Placeholder 3">
            <a:extLst>
              <a:ext uri="{FF2B5EF4-FFF2-40B4-BE49-F238E27FC236}">
                <a16:creationId xmlns:a16="http://schemas.microsoft.com/office/drawing/2014/main" id="{34D033A2-002B-17BE-202A-1F1164053583}"/>
              </a:ext>
            </a:extLst>
          </p:cNvPr>
          <p:cNvSpPr>
            <a:spLocks noGrp="1"/>
          </p:cNvSpPr>
          <p:nvPr>
            <p:ph type="sldNum" sz="quarter" idx="10"/>
          </p:nvPr>
        </p:nvSpPr>
        <p:spPr/>
        <p:txBody>
          <a:bodyPr/>
          <a:lstStyle/>
          <a:p>
            <a:fld id="{0580567E-5E8F-47A5-90DF-8BFEB1A71525}" type="slidenum">
              <a:rPr lang="en-GB" smtClean="0"/>
              <a:pPr/>
              <a:t>2</a:t>
            </a:fld>
            <a:endParaRPr lang="en-GB"/>
          </a:p>
        </p:txBody>
      </p:sp>
      <p:sp>
        <p:nvSpPr>
          <p:cNvPr id="5" name="TextBox 4">
            <a:extLst>
              <a:ext uri="{FF2B5EF4-FFF2-40B4-BE49-F238E27FC236}">
                <a16:creationId xmlns:a16="http://schemas.microsoft.com/office/drawing/2014/main" id="{9EEBEB53-5507-9CFB-D121-C0C35D2E94F1}"/>
              </a:ext>
            </a:extLst>
          </p:cNvPr>
          <p:cNvSpPr txBox="1"/>
          <p:nvPr/>
        </p:nvSpPr>
        <p:spPr>
          <a:xfrm>
            <a:off x="769263" y="2099191"/>
            <a:ext cx="2535685" cy="2659618"/>
          </a:xfrm>
          <a:prstGeom prst="snip2DiagRect">
            <a:avLst/>
          </a:prstGeom>
          <a:solidFill>
            <a:srgbClr val="ACDDEF">
              <a:alpha val="50000"/>
            </a:srgbClr>
          </a:solidFill>
        </p:spPr>
        <p:txBody>
          <a:bodyPr wrap="square" lIns="91440" tIns="45720" rIns="91440" bIns="45720" rtlCol="0" anchor="t">
            <a:spAutoFit/>
          </a:bodyPr>
          <a:lstStyle/>
          <a:p>
            <a:pPr marL="96520">
              <a:lnSpc>
                <a:spcPct val="100000"/>
              </a:lnSpc>
            </a:pPr>
            <a:r>
              <a:rPr lang="en-GB" sz="1800" b="1"/>
              <a:t>36 179 </a:t>
            </a:r>
            <a:r>
              <a:rPr lang="en-GB" sz="1800"/>
              <a:t>TB cases notified in all EU/EEA countries</a:t>
            </a:r>
            <a:endParaRPr lang="en-US"/>
          </a:p>
          <a:p>
            <a:pPr marL="96520">
              <a:lnSpc>
                <a:spcPct val="100000"/>
              </a:lnSpc>
            </a:pPr>
            <a:endParaRPr lang="en-GB" sz="1400">
              <a:solidFill>
                <a:srgbClr val="FF0000"/>
              </a:solidFill>
              <a:ea typeface="Tahoma"/>
              <a:cs typeface="Tahoma"/>
            </a:endParaRPr>
          </a:p>
          <a:p>
            <a:pPr marL="96520">
              <a:lnSpc>
                <a:spcPct val="100000"/>
              </a:lnSpc>
            </a:pPr>
            <a:r>
              <a:rPr lang="en-GB" sz="1800"/>
              <a:t>Notification rate </a:t>
            </a:r>
            <a:r>
              <a:rPr lang="en-GB" sz="1800" b="1"/>
              <a:t>8.0 </a:t>
            </a:r>
            <a:r>
              <a:rPr lang="en-GB" sz="1800"/>
              <a:t>per 100 000 population (range </a:t>
            </a:r>
            <a:r>
              <a:rPr lang="en-GB"/>
              <a:t>2.5</a:t>
            </a:r>
            <a:r>
              <a:rPr lang="en-GB" sz="1800"/>
              <a:t> – 48.7)</a:t>
            </a:r>
            <a:endParaRPr lang="en-GB" sz="1800">
              <a:ea typeface="Tahoma"/>
              <a:cs typeface="Tahoma"/>
            </a:endParaRPr>
          </a:p>
        </p:txBody>
      </p:sp>
      <p:sp>
        <p:nvSpPr>
          <p:cNvPr id="8" name="Text Box 83">
            <a:extLst>
              <a:ext uri="{FF2B5EF4-FFF2-40B4-BE49-F238E27FC236}">
                <a16:creationId xmlns:a16="http://schemas.microsoft.com/office/drawing/2014/main" id="{EF18DA09-E7D9-2EDE-DC64-D98E3B5B76DF}"/>
              </a:ext>
            </a:extLst>
          </p:cNvPr>
          <p:cNvSpPr txBox="1">
            <a:spLocks noChangeArrowheads="1"/>
          </p:cNvSpPr>
          <p:nvPr/>
        </p:nvSpPr>
        <p:spPr bwMode="auto">
          <a:xfrm>
            <a:off x="186815" y="6537928"/>
            <a:ext cx="3781503"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spTree>
    <p:extLst>
      <p:ext uri="{BB962C8B-B14F-4D97-AF65-F5344CB8AC3E}">
        <p14:creationId xmlns:p14="http://schemas.microsoft.com/office/powerpoint/2010/main" val="18428729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06AAB95-F0B5-36AC-9510-160084E7AD28}"/>
              </a:ext>
            </a:extLst>
          </p:cNvPr>
          <p:cNvPicPr>
            <a:picLocks noChangeAspect="1"/>
          </p:cNvPicPr>
          <p:nvPr/>
        </p:nvPicPr>
        <p:blipFill>
          <a:blip r:embed="rId2"/>
          <a:stretch>
            <a:fillRect/>
          </a:stretch>
        </p:blipFill>
        <p:spPr>
          <a:xfrm>
            <a:off x="2015833" y="1919003"/>
            <a:ext cx="7606591" cy="4422624"/>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0</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37333" y="224143"/>
            <a:ext cx="8078421" cy="822325"/>
          </a:xfrm>
        </p:spPr>
        <p:txBody>
          <a:bodyPr/>
          <a:lstStyle/>
          <a:p>
            <a:r>
              <a:rPr lang="en-GB" sz="2400">
                <a:solidFill>
                  <a:schemeClr val="tx1"/>
                </a:solidFill>
              </a:rPr>
              <a:t>Treatment success after 12 months among new &amp; relapse TB cases notified in 2021, EU/EEA*, 2022</a:t>
            </a:r>
            <a:endParaRPr lang="nl-NL" sz="2400">
              <a:solidFill>
                <a:schemeClr val="tx1"/>
              </a:solidFill>
            </a:endParaRPr>
          </a:p>
        </p:txBody>
      </p:sp>
      <p:sp>
        <p:nvSpPr>
          <p:cNvPr id="3" name="Content Placeholder 153">
            <a:extLst>
              <a:ext uri="{FF2B5EF4-FFF2-40B4-BE49-F238E27FC236}">
                <a16:creationId xmlns:a16="http://schemas.microsoft.com/office/drawing/2014/main" id="{DCA0BAF6-4456-74D7-FBA3-B5585E2B81DB}"/>
              </a:ext>
            </a:extLst>
          </p:cNvPr>
          <p:cNvSpPr txBox="1">
            <a:spLocks/>
          </p:cNvSpPr>
          <p:nvPr/>
        </p:nvSpPr>
        <p:spPr>
          <a:xfrm>
            <a:off x="737333" y="1145054"/>
            <a:ext cx="10401613" cy="773949"/>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b="1"/>
              <a:t>64.0%</a:t>
            </a:r>
            <a:r>
              <a:rPr lang="en-US" sz="1800"/>
              <a:t> of new &amp; relapse TB cases had a successful treatment outcome after 12 months (range 3.4–100%) </a:t>
            </a:r>
          </a:p>
        </p:txBody>
      </p:sp>
      <p:sp>
        <p:nvSpPr>
          <p:cNvPr id="5" name="Rectangle 4">
            <a:extLst>
              <a:ext uri="{FF2B5EF4-FFF2-40B4-BE49-F238E27FC236}">
                <a16:creationId xmlns:a16="http://schemas.microsoft.com/office/drawing/2014/main" id="{B43EC5B3-E9F6-13D1-03C0-A3FF0FF07E61}"/>
              </a:ext>
            </a:extLst>
          </p:cNvPr>
          <p:cNvSpPr/>
          <p:nvPr/>
        </p:nvSpPr>
        <p:spPr>
          <a:xfrm>
            <a:off x="123485" y="6445032"/>
            <a:ext cx="9848925" cy="400110"/>
          </a:xfrm>
          <a:prstGeom prst="rect">
            <a:avLst/>
          </a:prstGeom>
        </p:spPr>
        <p:txBody>
          <a:bodyPr wrap="square">
            <a:spAutoFit/>
          </a:bodyPr>
          <a:lstStyle/>
          <a:p>
            <a:pPr lvl="0">
              <a:lnSpc>
                <a:spcPct val="100000"/>
              </a:lnSpc>
              <a:spcBef>
                <a:spcPct val="30000"/>
              </a:spcBef>
              <a:defRPr/>
            </a:pPr>
            <a:r>
              <a:rPr lang="en-GB" sz="1000" spc="-30"/>
              <a:t>* Five EU/EEA countries did not report treatment outcome data: Greece, Italy, Latvia, Luxembourg and Poland. </a:t>
            </a:r>
            <a:br>
              <a:rPr lang="en-GB" sz="1000" spc="-30"/>
            </a:br>
            <a:r>
              <a:rPr lang="en-GB" sz="1000" spc="-30"/>
              <a:t>  </a:t>
            </a:r>
          </a:p>
        </p:txBody>
      </p:sp>
      <p:sp>
        <p:nvSpPr>
          <p:cNvPr id="7" name="Text Box 83">
            <a:extLst>
              <a:ext uri="{FF2B5EF4-FFF2-40B4-BE49-F238E27FC236}">
                <a16:creationId xmlns:a16="http://schemas.microsoft.com/office/drawing/2014/main" id="{834A9F76-F58C-52DE-DB70-0E9CEFC78C6F}"/>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spTree>
    <p:extLst>
      <p:ext uri="{BB962C8B-B14F-4D97-AF65-F5344CB8AC3E}">
        <p14:creationId xmlns:p14="http://schemas.microsoft.com/office/powerpoint/2010/main" val="2870981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1</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89685" y="169657"/>
            <a:ext cx="8182589" cy="822325"/>
          </a:xfrm>
        </p:spPr>
        <p:txBody>
          <a:bodyPr/>
          <a:lstStyle/>
          <a:p>
            <a:r>
              <a:rPr lang="en-GB" sz="2800"/>
              <a:t>Treatment success after 12 months among new and relapse TB cases notified 2012–2021, EU/EEA*, 2022 </a:t>
            </a:r>
            <a:endParaRPr lang="nl-NL" sz="2800"/>
          </a:p>
        </p:txBody>
      </p:sp>
      <p:sp>
        <p:nvSpPr>
          <p:cNvPr id="3" name="Content Placeholder 153">
            <a:extLst>
              <a:ext uri="{FF2B5EF4-FFF2-40B4-BE49-F238E27FC236}">
                <a16:creationId xmlns:a16="http://schemas.microsoft.com/office/drawing/2014/main" id="{FA018CA0-7F21-26DE-3825-E8C46271FABF}"/>
              </a:ext>
            </a:extLst>
          </p:cNvPr>
          <p:cNvSpPr txBox="1">
            <a:spLocks/>
          </p:cNvSpPr>
          <p:nvPr/>
        </p:nvSpPr>
        <p:spPr>
          <a:xfrm>
            <a:off x="889685" y="1386465"/>
            <a:ext cx="10774315" cy="443372"/>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a:t>Proportion of successfully treated cases decreased between </a:t>
            </a:r>
            <a:r>
              <a:rPr lang="en-US" sz="1800" b="1"/>
              <a:t>76.1%</a:t>
            </a:r>
            <a:r>
              <a:rPr lang="en-US" sz="1800"/>
              <a:t> in 2012 to </a:t>
            </a:r>
            <a:r>
              <a:rPr lang="en-US" sz="1800" b="1"/>
              <a:t>64.0%</a:t>
            </a:r>
            <a:r>
              <a:rPr lang="en-US" sz="1800"/>
              <a:t> in 2021</a:t>
            </a:r>
          </a:p>
        </p:txBody>
      </p:sp>
      <p:sp>
        <p:nvSpPr>
          <p:cNvPr id="5" name="Rectangle 4">
            <a:extLst>
              <a:ext uri="{FF2B5EF4-FFF2-40B4-BE49-F238E27FC236}">
                <a16:creationId xmlns:a16="http://schemas.microsoft.com/office/drawing/2014/main" id="{B9C42F5C-8467-3BF8-AFD0-3F884ADDED3B}"/>
              </a:ext>
            </a:extLst>
          </p:cNvPr>
          <p:cNvSpPr/>
          <p:nvPr/>
        </p:nvSpPr>
        <p:spPr>
          <a:xfrm>
            <a:off x="74647" y="6336573"/>
            <a:ext cx="10675749" cy="400110"/>
          </a:xfrm>
          <a:prstGeom prst="rect">
            <a:avLst/>
          </a:prstGeom>
        </p:spPr>
        <p:txBody>
          <a:bodyPr wrap="square">
            <a:spAutoFit/>
          </a:bodyPr>
          <a:lstStyle/>
          <a:p>
            <a:pPr lvl="0">
              <a:lnSpc>
                <a:spcPct val="100000"/>
              </a:lnSpc>
              <a:spcBef>
                <a:spcPct val="30000"/>
              </a:spcBef>
              <a:defRPr/>
            </a:pPr>
            <a:r>
              <a:rPr lang="en-GB" sz="1000"/>
              <a:t>* Countries and the years for which they are not included due to reporting discrepancies or no data: France (all years), Greece (all years), Italy (all years), Latvia (2017-2020), Liechtenstein (2012-2014, 2018-2019), Luxembourg (2012-2018), Malta (2014-2019), Poland (2017-2021).</a:t>
            </a:r>
          </a:p>
        </p:txBody>
      </p:sp>
      <p:sp>
        <p:nvSpPr>
          <p:cNvPr id="7" name="Text Box 83">
            <a:extLst>
              <a:ext uri="{FF2B5EF4-FFF2-40B4-BE49-F238E27FC236}">
                <a16:creationId xmlns:a16="http://schemas.microsoft.com/office/drawing/2014/main" id="{65D4C410-1258-6938-9A07-1FC189E578B7}"/>
              </a:ext>
            </a:extLst>
          </p:cNvPr>
          <p:cNvSpPr txBox="1">
            <a:spLocks noChangeArrowheads="1"/>
          </p:cNvSpPr>
          <p:nvPr/>
        </p:nvSpPr>
        <p:spPr bwMode="auto">
          <a:xfrm>
            <a:off x="212627" y="6719878"/>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11" name="Picture 10" descr="A graph of a number of relapse cases&#10;&#10;Description automatically generated">
            <a:extLst>
              <a:ext uri="{FF2B5EF4-FFF2-40B4-BE49-F238E27FC236}">
                <a16:creationId xmlns:a16="http://schemas.microsoft.com/office/drawing/2014/main" id="{EC73E795-11AB-ABD2-EF18-AD4BC2E49402}"/>
              </a:ext>
            </a:extLst>
          </p:cNvPr>
          <p:cNvPicPr>
            <a:picLocks noChangeAspect="1"/>
          </p:cNvPicPr>
          <p:nvPr/>
        </p:nvPicPr>
        <p:blipFill rotWithShape="1">
          <a:blip r:embed="rId3"/>
          <a:srcRect b="1799"/>
          <a:stretch/>
        </p:blipFill>
        <p:spPr>
          <a:xfrm>
            <a:off x="2079171" y="1977617"/>
            <a:ext cx="8675914" cy="4307092"/>
          </a:xfrm>
          <a:prstGeom prst="rect">
            <a:avLst/>
          </a:prstGeom>
        </p:spPr>
      </p:pic>
    </p:spTree>
    <p:extLst>
      <p:ext uri="{BB962C8B-B14F-4D97-AF65-F5344CB8AC3E}">
        <p14:creationId xmlns:p14="http://schemas.microsoft.com/office/powerpoint/2010/main" val="18600538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2</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137037" cy="822325"/>
          </a:xfrm>
        </p:spPr>
        <p:txBody>
          <a:bodyPr/>
          <a:lstStyle/>
          <a:p>
            <a:r>
              <a:rPr lang="en-GB" sz="2800">
                <a:solidFill>
                  <a:schemeClr val="tx1"/>
                </a:solidFill>
              </a:rPr>
              <a:t>Treatment success after 24 months among RR/MDR TB cases started on second-line treatment in 2020, EU/EEA*, 2022</a:t>
            </a:r>
            <a:endParaRPr lang="nl-NL" sz="2800">
              <a:solidFill>
                <a:schemeClr val="tx1"/>
              </a:solidFill>
            </a:endParaRPr>
          </a:p>
        </p:txBody>
      </p:sp>
      <p:sp>
        <p:nvSpPr>
          <p:cNvPr id="3" name="Content Placeholder 153">
            <a:extLst>
              <a:ext uri="{FF2B5EF4-FFF2-40B4-BE49-F238E27FC236}">
                <a16:creationId xmlns:a16="http://schemas.microsoft.com/office/drawing/2014/main" id="{A183659F-C829-F6A2-C3D8-2B3FF45F7863}"/>
              </a:ext>
            </a:extLst>
          </p:cNvPr>
          <p:cNvSpPr txBox="1">
            <a:spLocks/>
          </p:cNvSpPr>
          <p:nvPr/>
        </p:nvSpPr>
        <p:spPr>
          <a:xfrm>
            <a:off x="410568" y="2010275"/>
            <a:ext cx="2531187" cy="3280050"/>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b="1"/>
              <a:t>52.5%</a:t>
            </a:r>
            <a:r>
              <a:rPr lang="en-US" sz="1800"/>
              <a:t> of all RR/MDR TB cases started on second-line treatment in 2020 were reported to have treatment success after 24 months (range 0 –100%)</a:t>
            </a:r>
          </a:p>
        </p:txBody>
      </p:sp>
      <p:sp>
        <p:nvSpPr>
          <p:cNvPr id="5" name="Rectangle 4">
            <a:extLst>
              <a:ext uri="{FF2B5EF4-FFF2-40B4-BE49-F238E27FC236}">
                <a16:creationId xmlns:a16="http://schemas.microsoft.com/office/drawing/2014/main" id="{3AD64277-4BE2-7D68-3A9B-81E25D64936A}"/>
              </a:ext>
            </a:extLst>
          </p:cNvPr>
          <p:cNvSpPr/>
          <p:nvPr/>
        </p:nvSpPr>
        <p:spPr>
          <a:xfrm>
            <a:off x="69316" y="6154700"/>
            <a:ext cx="9776606" cy="400110"/>
          </a:xfrm>
          <a:prstGeom prst="rect">
            <a:avLst/>
          </a:prstGeom>
        </p:spPr>
        <p:txBody>
          <a:bodyPr wrap="square" lIns="91440" tIns="45720" rIns="91440" bIns="45720" anchor="t">
            <a:spAutoFit/>
          </a:bodyPr>
          <a:lstStyle/>
          <a:p>
            <a:pPr marL="137795" indent="-137795"/>
            <a:r>
              <a:rPr lang="en-GB" sz="1000" spc="-30" dirty="0"/>
              <a:t> * Three countries reported zero RR/MDR TB cases in 2020: Cyprus, Denmark and Iceland </a:t>
            </a:r>
          </a:p>
          <a:p>
            <a:pPr marL="137795" indent="-137795"/>
            <a:r>
              <a:rPr lang="en-GB" sz="1000" dirty="0"/>
              <a:t> Eleven countries did not report treatment outcome data: Bulgaria, Finland, France, Greece, Ireland, Italy, Latvia, Liechtenstein, Luxembourg, Poland, Spain. </a:t>
            </a:r>
            <a:endParaRPr lang="en-GB" sz="1000" spc="-30" dirty="0">
              <a:ea typeface="Tahoma"/>
              <a:cs typeface="Tahoma"/>
            </a:endParaRPr>
          </a:p>
        </p:txBody>
      </p:sp>
      <p:sp>
        <p:nvSpPr>
          <p:cNvPr id="7" name="Text Box 83">
            <a:extLst>
              <a:ext uri="{FF2B5EF4-FFF2-40B4-BE49-F238E27FC236}">
                <a16:creationId xmlns:a16="http://schemas.microsoft.com/office/drawing/2014/main" id="{4872622E-DFDF-EEDE-4A6F-EC55C78325E9}"/>
              </a:ext>
            </a:extLst>
          </p:cNvPr>
          <p:cNvSpPr txBox="1">
            <a:spLocks noChangeArrowheads="1"/>
          </p:cNvSpPr>
          <p:nvPr/>
        </p:nvSpPr>
        <p:spPr bwMode="auto">
          <a:xfrm>
            <a:off x="275214" y="6703410"/>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3–2022 data</a:t>
            </a:r>
          </a:p>
        </p:txBody>
      </p:sp>
      <p:pic>
        <p:nvPicPr>
          <p:cNvPr id="2" name="Picture 1">
            <a:extLst>
              <a:ext uri="{FF2B5EF4-FFF2-40B4-BE49-F238E27FC236}">
                <a16:creationId xmlns:a16="http://schemas.microsoft.com/office/drawing/2014/main" id="{FCD47677-2A8B-6247-6D67-97C6D7B234DF}"/>
              </a:ext>
            </a:extLst>
          </p:cNvPr>
          <p:cNvPicPr>
            <a:picLocks noChangeAspect="1"/>
          </p:cNvPicPr>
          <p:nvPr/>
        </p:nvPicPr>
        <p:blipFill>
          <a:blip r:embed="rId2"/>
          <a:stretch>
            <a:fillRect/>
          </a:stretch>
        </p:blipFill>
        <p:spPr>
          <a:xfrm>
            <a:off x="3526963" y="1719724"/>
            <a:ext cx="8137037" cy="4349806"/>
          </a:xfrm>
          <a:prstGeom prst="rect">
            <a:avLst/>
          </a:prstGeom>
        </p:spPr>
      </p:pic>
    </p:spTree>
    <p:extLst>
      <p:ext uri="{BB962C8B-B14F-4D97-AF65-F5344CB8AC3E}">
        <p14:creationId xmlns:p14="http://schemas.microsoft.com/office/powerpoint/2010/main" val="3868409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3</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144806"/>
            <a:ext cx="8195035" cy="822325"/>
          </a:xfrm>
        </p:spPr>
        <p:txBody>
          <a:bodyPr/>
          <a:lstStyle/>
          <a:p>
            <a:r>
              <a:rPr lang="en-GB" sz="2800">
                <a:solidFill>
                  <a:schemeClr val="tx1"/>
                </a:solidFill>
              </a:rPr>
              <a:t>Treatment success after 24 months among RR/MDR TB cases started on second-line treatment in 2020, EU/EEA*, 2022</a:t>
            </a:r>
            <a:endParaRPr lang="nl-NL" sz="2800">
              <a:solidFill>
                <a:schemeClr val="tx1"/>
              </a:solidFill>
            </a:endParaRPr>
          </a:p>
        </p:txBody>
      </p:sp>
      <p:sp>
        <p:nvSpPr>
          <p:cNvPr id="3" name="TextBox 2">
            <a:extLst>
              <a:ext uri="{FF2B5EF4-FFF2-40B4-BE49-F238E27FC236}">
                <a16:creationId xmlns:a16="http://schemas.microsoft.com/office/drawing/2014/main" id="{C160A9A6-A0F4-A1FC-555C-F9ACF36FE09D}"/>
              </a:ext>
            </a:extLst>
          </p:cNvPr>
          <p:cNvSpPr txBox="1"/>
          <p:nvPr/>
        </p:nvSpPr>
        <p:spPr>
          <a:xfrm>
            <a:off x="928321" y="1833443"/>
            <a:ext cx="2419571" cy="3534013"/>
          </a:xfrm>
          <a:prstGeom prst="snip2DiagRect">
            <a:avLst/>
          </a:prstGeom>
          <a:solidFill>
            <a:srgbClr val="ACDDEF">
              <a:alpha val="50196"/>
            </a:srgbClr>
          </a:solidFill>
        </p:spPr>
        <p:txBody>
          <a:bodyPr wrap="square" rtlCol="0">
            <a:spAutoFit/>
          </a:bodyPr>
          <a:lstStyle/>
          <a:p>
            <a:pPr marL="96834">
              <a:lnSpc>
                <a:spcPct val="100000"/>
              </a:lnSpc>
              <a:spcAft>
                <a:spcPts val="0"/>
              </a:spcAft>
            </a:pPr>
            <a:r>
              <a:rPr lang="en-US" sz="1800" b="1"/>
              <a:t>52.5% </a:t>
            </a:r>
            <a:r>
              <a:rPr lang="en-US" sz="1800"/>
              <a:t>of all RR/MDR TB cases started on second-line treatment in 2020 were reported to have treatment success after 24 months (range </a:t>
            </a:r>
            <a:r>
              <a:rPr lang="en-US"/>
              <a:t>0</a:t>
            </a:r>
            <a:r>
              <a:rPr lang="en-US" sz="1800"/>
              <a:t>–100%)</a:t>
            </a:r>
            <a:endParaRPr lang="en-GB" sz="1800"/>
          </a:p>
        </p:txBody>
      </p:sp>
      <p:sp>
        <p:nvSpPr>
          <p:cNvPr id="5" name="Rectangle 4">
            <a:extLst>
              <a:ext uri="{FF2B5EF4-FFF2-40B4-BE49-F238E27FC236}">
                <a16:creationId xmlns:a16="http://schemas.microsoft.com/office/drawing/2014/main" id="{5D439943-7CCE-B613-46D3-B95B5B512F03}"/>
              </a:ext>
            </a:extLst>
          </p:cNvPr>
          <p:cNvSpPr/>
          <p:nvPr/>
        </p:nvSpPr>
        <p:spPr>
          <a:xfrm>
            <a:off x="151890" y="5680603"/>
            <a:ext cx="4335781" cy="907941"/>
          </a:xfrm>
          <a:prstGeom prst="rect">
            <a:avLst/>
          </a:prstGeom>
        </p:spPr>
        <p:txBody>
          <a:bodyPr wrap="square" lIns="91440" tIns="45720" rIns="91440" bIns="45720" anchor="t">
            <a:spAutoFit/>
          </a:bodyPr>
          <a:lstStyle/>
          <a:p>
            <a:pPr>
              <a:spcBef>
                <a:spcPct val="30000"/>
              </a:spcBef>
              <a:defRPr/>
            </a:pPr>
            <a:r>
              <a:rPr lang="en-GB" sz="1000" dirty="0"/>
              <a:t>* Three countries reported zero RR/MDR TB cases in 2020: Cyprus, Denmark and Iceland </a:t>
            </a:r>
          </a:p>
          <a:p>
            <a:pPr>
              <a:spcBef>
                <a:spcPct val="30000"/>
              </a:spcBef>
              <a:defRPr/>
            </a:pPr>
            <a:r>
              <a:rPr lang="en-GB" sz="1000"/>
              <a:t>Eleven countries did not report treatment outcome data: Bulgaria, Finland, France, Greece, Ireland, Italy, Latvia, Liechtenstein, Luxembourg, Poland, Spain. </a:t>
            </a:r>
          </a:p>
        </p:txBody>
      </p:sp>
      <p:sp>
        <p:nvSpPr>
          <p:cNvPr id="7" name="Text Box 83">
            <a:extLst>
              <a:ext uri="{FF2B5EF4-FFF2-40B4-BE49-F238E27FC236}">
                <a16:creationId xmlns:a16="http://schemas.microsoft.com/office/drawing/2014/main" id="{8D84B50A-96CE-2324-7793-993240B39A16}"/>
              </a:ext>
            </a:extLst>
          </p:cNvPr>
          <p:cNvSpPr txBox="1">
            <a:spLocks noChangeArrowheads="1"/>
          </p:cNvSpPr>
          <p:nvPr/>
        </p:nvSpPr>
        <p:spPr bwMode="auto">
          <a:xfrm>
            <a:off x="151890" y="6588544"/>
            <a:ext cx="3972435"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13" name="Picture 12" descr="A map of europe with different colored countries/regions&#10;&#10;Description automatically generated">
            <a:extLst>
              <a:ext uri="{FF2B5EF4-FFF2-40B4-BE49-F238E27FC236}">
                <a16:creationId xmlns:a16="http://schemas.microsoft.com/office/drawing/2014/main" id="{CAE3B911-E4EA-F926-71FC-F03B28BC64BE}"/>
              </a:ext>
            </a:extLst>
          </p:cNvPr>
          <p:cNvPicPr>
            <a:picLocks noChangeAspect="1"/>
          </p:cNvPicPr>
          <p:nvPr/>
        </p:nvPicPr>
        <p:blipFill rotWithShape="1">
          <a:blip r:embed="rId2">
            <a:extLst>
              <a:ext uri="{28A0092B-C50C-407E-A947-70E740481C1C}">
                <a14:useLocalDpi xmlns:a14="http://schemas.microsoft.com/office/drawing/2010/main" val="0"/>
              </a:ext>
            </a:extLst>
          </a:blip>
          <a:srcRect l="8486" r="10276"/>
          <a:stretch/>
        </p:blipFill>
        <p:spPr>
          <a:xfrm>
            <a:off x="4343400" y="1423551"/>
            <a:ext cx="7848600" cy="5434450"/>
          </a:xfrm>
          <a:prstGeom prst="rect">
            <a:avLst/>
          </a:prstGeom>
        </p:spPr>
      </p:pic>
    </p:spTree>
    <p:extLst>
      <p:ext uri="{BB962C8B-B14F-4D97-AF65-F5344CB8AC3E}">
        <p14:creationId xmlns:p14="http://schemas.microsoft.com/office/powerpoint/2010/main" val="825454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4</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05247" y="186888"/>
            <a:ext cx="8137037" cy="822325"/>
          </a:xfrm>
        </p:spPr>
        <p:txBody>
          <a:bodyPr/>
          <a:lstStyle/>
          <a:p>
            <a:r>
              <a:rPr lang="en-GB" sz="2800">
                <a:solidFill>
                  <a:schemeClr val="tx1"/>
                </a:solidFill>
              </a:rPr>
              <a:t>Treatment outcomes among RR/MDR TB cases* started on second-line treatment in 2017–2020, EU/EEA</a:t>
            </a:r>
            <a:r>
              <a:rPr lang="en-GB" sz="2800" baseline="30000">
                <a:solidFill>
                  <a:schemeClr val="tx1"/>
                </a:solidFill>
              </a:rPr>
              <a:t>†</a:t>
            </a:r>
            <a:r>
              <a:rPr lang="en-GB" sz="2800">
                <a:solidFill>
                  <a:schemeClr val="tx1"/>
                </a:solidFill>
              </a:rPr>
              <a:t>, 2022</a:t>
            </a:r>
            <a:endParaRPr lang="nl-NL" sz="2800">
              <a:solidFill>
                <a:schemeClr val="tx1"/>
              </a:solidFill>
            </a:endParaRPr>
          </a:p>
        </p:txBody>
      </p:sp>
      <p:sp>
        <p:nvSpPr>
          <p:cNvPr id="5" name="Content Placeholder 153">
            <a:extLst>
              <a:ext uri="{FF2B5EF4-FFF2-40B4-BE49-F238E27FC236}">
                <a16:creationId xmlns:a16="http://schemas.microsoft.com/office/drawing/2014/main" id="{FA9319B3-7909-1AB6-FD20-AF741152CCE1}"/>
              </a:ext>
            </a:extLst>
          </p:cNvPr>
          <p:cNvSpPr txBox="1">
            <a:spLocks/>
          </p:cNvSpPr>
          <p:nvPr/>
        </p:nvSpPr>
        <p:spPr>
          <a:xfrm>
            <a:off x="889686" y="1398701"/>
            <a:ext cx="10568306" cy="443372"/>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r>
              <a:rPr lang="en-US" sz="1800"/>
              <a:t>Reported treatment success remained below </a:t>
            </a:r>
            <a:r>
              <a:rPr lang="en-US" sz="1800" b="1"/>
              <a:t>50% </a:t>
            </a:r>
            <a:r>
              <a:rPr lang="en-US" sz="1800"/>
              <a:t>for all RR/MDR TB cohorts between 2017-2020</a:t>
            </a:r>
            <a:endParaRPr lang="en-US" sz="1800" b="1"/>
          </a:p>
        </p:txBody>
      </p:sp>
      <p:sp>
        <p:nvSpPr>
          <p:cNvPr id="7" name="Rectangle 6">
            <a:extLst>
              <a:ext uri="{FF2B5EF4-FFF2-40B4-BE49-F238E27FC236}">
                <a16:creationId xmlns:a16="http://schemas.microsoft.com/office/drawing/2014/main" id="{467BCD58-BFF5-EA78-733D-38D1299AF715}"/>
              </a:ext>
            </a:extLst>
          </p:cNvPr>
          <p:cNvSpPr/>
          <p:nvPr/>
        </p:nvSpPr>
        <p:spPr>
          <a:xfrm>
            <a:off x="62360" y="5957406"/>
            <a:ext cx="9622813" cy="707886"/>
          </a:xfrm>
          <a:prstGeom prst="rect">
            <a:avLst/>
          </a:prstGeom>
        </p:spPr>
        <p:txBody>
          <a:bodyPr wrap="square">
            <a:spAutoFit/>
          </a:bodyPr>
          <a:lstStyle/>
          <a:p>
            <a:pPr marL="138113" indent="-138113"/>
            <a:r>
              <a:rPr lang="en-US" sz="1000" spc="-40"/>
              <a:t>*  Pre-XDR and XDR TB cases are not included and, thus, treatment outcomes presented here differ from those including pre-XDR and XDR TB cases.</a:t>
            </a:r>
          </a:p>
          <a:p>
            <a:pPr marL="138113" indent="-138113"/>
            <a:r>
              <a:rPr lang="en-GB" sz="1000"/>
              <a:t>†  Countries and the cohorts for which they are not included due to reporting discrepancies or no data: Croatia (2017), Cyprus (all years), Denmark (2020), Finland (2020), France (all years), Greece (all years), Iceland (all years), Ireland (2020), Italy (all years), Latvia (2017-2018), Liechtenstein (all years), Luxembourg (all years), Malta (all years), Poland (2017-2018), Slovenia (2017-2019), Spain (all years).</a:t>
            </a:r>
            <a:endParaRPr lang="en-US" sz="1000" spc="-40"/>
          </a:p>
        </p:txBody>
      </p:sp>
      <p:sp>
        <p:nvSpPr>
          <p:cNvPr id="8" name="Text Box 83">
            <a:extLst>
              <a:ext uri="{FF2B5EF4-FFF2-40B4-BE49-F238E27FC236}">
                <a16:creationId xmlns:a16="http://schemas.microsoft.com/office/drawing/2014/main" id="{EB658536-F1E5-D624-8082-9FFA3BEE4806}"/>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3" name="Picture 2">
            <a:extLst>
              <a:ext uri="{FF2B5EF4-FFF2-40B4-BE49-F238E27FC236}">
                <a16:creationId xmlns:a16="http://schemas.microsoft.com/office/drawing/2014/main" id="{558C60B6-C3CF-2157-6973-7D169E385A37}"/>
              </a:ext>
            </a:extLst>
          </p:cNvPr>
          <p:cNvPicPr>
            <a:picLocks noChangeAspect="1"/>
          </p:cNvPicPr>
          <p:nvPr/>
        </p:nvPicPr>
        <p:blipFill>
          <a:blip r:embed="rId2"/>
          <a:stretch>
            <a:fillRect/>
          </a:stretch>
        </p:blipFill>
        <p:spPr>
          <a:xfrm>
            <a:off x="2192783" y="2085920"/>
            <a:ext cx="7968077" cy="3836116"/>
          </a:xfrm>
          <a:prstGeom prst="rect">
            <a:avLst/>
          </a:prstGeom>
        </p:spPr>
      </p:pic>
    </p:spTree>
    <p:extLst>
      <p:ext uri="{BB962C8B-B14F-4D97-AF65-F5344CB8AC3E}">
        <p14:creationId xmlns:p14="http://schemas.microsoft.com/office/powerpoint/2010/main" val="17888888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5</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33174" y="267579"/>
            <a:ext cx="8598309" cy="822325"/>
          </a:xfrm>
        </p:spPr>
        <p:txBody>
          <a:bodyPr/>
          <a:lstStyle/>
          <a:p>
            <a:r>
              <a:rPr lang="en-GB" sz="2800"/>
              <a:t>Treatment success after 24 months among </a:t>
            </a:r>
            <a:br>
              <a:rPr lang="en-GB" sz="2800"/>
            </a:br>
            <a:r>
              <a:rPr lang="en-GB" sz="2800"/>
              <a:t>pre-XDR TB cases started on second-line treatment in 2020, EU/EEA*, 2022</a:t>
            </a:r>
            <a:endParaRPr lang="nl-NL" sz="2800"/>
          </a:p>
        </p:txBody>
      </p:sp>
      <p:sp>
        <p:nvSpPr>
          <p:cNvPr id="3" name="Content Placeholder 153">
            <a:extLst>
              <a:ext uri="{FF2B5EF4-FFF2-40B4-BE49-F238E27FC236}">
                <a16:creationId xmlns:a16="http://schemas.microsoft.com/office/drawing/2014/main" id="{65824DD3-C485-59A9-6165-4BD2053A69AB}"/>
              </a:ext>
            </a:extLst>
          </p:cNvPr>
          <p:cNvSpPr txBox="1">
            <a:spLocks/>
          </p:cNvSpPr>
          <p:nvPr/>
        </p:nvSpPr>
        <p:spPr>
          <a:xfrm>
            <a:off x="833174" y="1536169"/>
            <a:ext cx="10101774" cy="773949"/>
          </a:xfrm>
          <a:prstGeom prst="snip2DiagRect">
            <a:avLst/>
          </a:prstGeom>
          <a:solidFill>
            <a:srgbClr val="ACDDEF">
              <a:alpha val="50000"/>
            </a:srgbClr>
          </a:solidFill>
          <a:ln w="9525">
            <a:noFill/>
            <a:miter lim="800000"/>
            <a:headEnd/>
            <a:tailEnd/>
          </a:ln>
          <a:effectLst/>
        </p:spPr>
        <p:txBody>
          <a:bodyPr vert="horz" wrap="square" lIns="90000" tIns="46800" rIns="90000" bIns="46800" numCol="1" rtlCol="0" anchor="t" anchorCtr="0" compatLnSpc="1">
            <a:prstTxWarp prst="textNoShape">
              <a:avLst/>
            </a:prstTxWarp>
            <a:spAutoFit/>
          </a:bodyPr>
          <a:lstStyle>
            <a:defPPr>
              <a:defRPr lang="de-DE"/>
            </a:defPPr>
            <a:lvl1pPr marL="96834" indent="0" eaLnBrk="1" hangingPunct="1">
              <a:lnSpc>
                <a:spcPct val="100000"/>
              </a:lnSpc>
              <a:spcBef>
                <a:spcPts val="300"/>
              </a:spcBef>
              <a:spcAft>
                <a:spcPts val="0"/>
              </a:spcAft>
              <a:buFont typeface="Wingdings" pitchFamily="2" charset="2"/>
              <a:tabLst/>
              <a:defRPr sz="1600" kern="0">
                <a:cs typeface="Tahoma" pitchFamily="34" charset="0"/>
              </a:defRPr>
            </a:lvl1pPr>
            <a:lvl2pPr marL="269848" indent="-269848" eaLnBrk="1" hangingPunct="1">
              <a:spcBef>
                <a:spcPts val="300"/>
              </a:spcBef>
              <a:spcAft>
                <a:spcPts val="600"/>
              </a:spcAft>
              <a:buFont typeface="Arial" pitchFamily="34" charset="0"/>
              <a:buChar char="•"/>
              <a:tabLst>
                <a:tab pos="269848" algn="l"/>
              </a:tabLst>
              <a:defRPr sz="2400">
                <a:cs typeface="Tahoma" pitchFamily="34" charset="0"/>
              </a:defRPr>
            </a:lvl2pPr>
            <a:lvl3pPr marL="541285" indent="-271436" eaLnBrk="1" hangingPunct="1">
              <a:spcBef>
                <a:spcPts val="300"/>
              </a:spcBef>
              <a:spcAft>
                <a:spcPts val="600"/>
              </a:spcAft>
              <a:buFont typeface="Tahoma" pitchFamily="34" charset="0"/>
              <a:buChar char="–"/>
              <a:tabLst>
                <a:tab pos="541285" algn="l"/>
              </a:tabLst>
              <a:defRPr sz="2400">
                <a:cs typeface="Tahoma" pitchFamily="34" charset="0"/>
              </a:defRPr>
            </a:lvl3pPr>
            <a:lvl4pPr marL="1600040" indent="-228578" eaLnBrk="1" hangingPunct="1">
              <a:spcBef>
                <a:spcPct val="20000"/>
              </a:spcBef>
              <a:defRPr sz="1600">
                <a:latin typeface="+mn-lt"/>
              </a:defRPr>
            </a:lvl4pPr>
            <a:lvl5pPr marL="2057195" indent="-228578" eaLnBrk="1" hangingPunct="1">
              <a:spcBef>
                <a:spcPct val="20000"/>
              </a:spcBef>
              <a:buNone/>
              <a:defRPr sz="1600">
                <a:latin typeface="+mn-lt"/>
              </a:defRPr>
            </a:lvl5pPr>
            <a:lvl6pPr marL="2514349" indent="-228578" fontAlgn="base">
              <a:spcBef>
                <a:spcPct val="20000"/>
              </a:spcBef>
              <a:spcAft>
                <a:spcPct val="0"/>
              </a:spcAft>
              <a:buChar char="»"/>
              <a:defRPr sz="1600">
                <a:latin typeface="+mn-lt"/>
              </a:defRPr>
            </a:lvl6pPr>
            <a:lvl7pPr marL="2971504" indent="-228578" fontAlgn="base">
              <a:spcBef>
                <a:spcPct val="20000"/>
              </a:spcBef>
              <a:spcAft>
                <a:spcPct val="0"/>
              </a:spcAft>
              <a:buChar char="»"/>
              <a:defRPr sz="1600">
                <a:latin typeface="+mn-lt"/>
              </a:defRPr>
            </a:lvl7pPr>
            <a:lvl8pPr marL="3428658" indent="-228578" fontAlgn="base">
              <a:spcBef>
                <a:spcPct val="20000"/>
              </a:spcBef>
              <a:spcAft>
                <a:spcPct val="0"/>
              </a:spcAft>
              <a:buChar char="»"/>
              <a:defRPr sz="1600">
                <a:latin typeface="+mn-lt"/>
              </a:defRPr>
            </a:lvl8pPr>
            <a:lvl9pPr marL="3885814" indent="-228578" fontAlgn="base">
              <a:spcBef>
                <a:spcPct val="20000"/>
              </a:spcBef>
              <a:spcAft>
                <a:spcPct val="0"/>
              </a:spcAft>
              <a:buChar char="»"/>
              <a:defRPr sz="1600">
                <a:latin typeface="+mn-lt"/>
              </a:defRPr>
            </a:lvl9pPr>
          </a:lstStyle>
          <a:p>
            <a:pPr marL="96520"/>
            <a:r>
              <a:rPr lang="en-US" sz="1800" b="1">
                <a:cs typeface="Tahoma"/>
              </a:rPr>
              <a:t>22.0% </a:t>
            </a:r>
            <a:r>
              <a:rPr lang="en-US" sz="1800">
                <a:cs typeface="Tahoma"/>
              </a:rPr>
              <a:t>of the pre-XDR TB cases started on second-line treatment in 2020 were reported to have treatment success after 24 months (range 2.9-100%)*</a:t>
            </a:r>
            <a:endParaRPr lang="en-US">
              <a:cs typeface="Tahoma"/>
            </a:endParaRPr>
          </a:p>
        </p:txBody>
      </p:sp>
      <p:sp>
        <p:nvSpPr>
          <p:cNvPr id="5" name="Rectangle 4">
            <a:extLst>
              <a:ext uri="{FF2B5EF4-FFF2-40B4-BE49-F238E27FC236}">
                <a16:creationId xmlns:a16="http://schemas.microsoft.com/office/drawing/2014/main" id="{4311BC77-4942-FB14-139F-D3028827CD1F}"/>
              </a:ext>
            </a:extLst>
          </p:cNvPr>
          <p:cNvSpPr/>
          <p:nvPr/>
        </p:nvSpPr>
        <p:spPr>
          <a:xfrm>
            <a:off x="0" y="6140896"/>
            <a:ext cx="9776606" cy="707886"/>
          </a:xfrm>
          <a:prstGeom prst="rect">
            <a:avLst/>
          </a:prstGeom>
        </p:spPr>
        <p:txBody>
          <a:bodyPr wrap="square">
            <a:spAutoFit/>
          </a:bodyPr>
          <a:lstStyle/>
          <a:p>
            <a:r>
              <a:rPr lang="en-GB" sz="1000" spc="-30"/>
              <a:t>* Twelve countries reported zero pre-XDR TB cases in 2020: Austria, Cyprus, Denmark, Finland, Hungary, Iceland, Ireland, Liechtenstein, Netherlands, Portugal, Slovakia, Slovenia.</a:t>
            </a:r>
          </a:p>
          <a:p>
            <a:r>
              <a:rPr lang="en-GB" sz="1000" spc="-30"/>
              <a:t>   Ten countries did not report treatment outcome data: Bulgaria, Croatia, France, Greece, Italy, Luxembourg, Malta, Norway, Poland and Spain. </a:t>
            </a:r>
            <a:br>
              <a:rPr lang="en-GB" sz="1000" spc="-30"/>
            </a:br>
            <a:r>
              <a:rPr lang="en-GB" sz="1000" spc="-30"/>
              <a:t>   </a:t>
            </a:r>
            <a:r>
              <a:rPr lang="en-GB" sz="1000"/>
              <a:t>Latvia did not report data for 2018-2020.</a:t>
            </a:r>
            <a:endParaRPr lang="en-GB" sz="1000" spc="-30"/>
          </a:p>
          <a:p>
            <a:r>
              <a:rPr lang="en-GB" sz="1000" spc="-30"/>
              <a:t> </a:t>
            </a:r>
          </a:p>
        </p:txBody>
      </p:sp>
      <p:sp>
        <p:nvSpPr>
          <p:cNvPr id="7" name="Text Box 83">
            <a:extLst>
              <a:ext uri="{FF2B5EF4-FFF2-40B4-BE49-F238E27FC236}">
                <a16:creationId xmlns:a16="http://schemas.microsoft.com/office/drawing/2014/main" id="{F7ECA580-B01A-A62A-B22C-55197F051DC6}"/>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2" name="Picture 1">
            <a:extLst>
              <a:ext uri="{FF2B5EF4-FFF2-40B4-BE49-F238E27FC236}">
                <a16:creationId xmlns:a16="http://schemas.microsoft.com/office/drawing/2014/main" id="{298EA97B-D0B3-7913-6FD0-EDE39C476B71}"/>
              </a:ext>
            </a:extLst>
          </p:cNvPr>
          <p:cNvPicPr>
            <a:picLocks noChangeAspect="1"/>
          </p:cNvPicPr>
          <p:nvPr/>
        </p:nvPicPr>
        <p:blipFill>
          <a:blip r:embed="rId2"/>
          <a:stretch>
            <a:fillRect/>
          </a:stretch>
        </p:blipFill>
        <p:spPr>
          <a:xfrm>
            <a:off x="2562225" y="2410330"/>
            <a:ext cx="5695950" cy="3761645"/>
          </a:xfrm>
          <a:prstGeom prst="rect">
            <a:avLst/>
          </a:prstGeom>
        </p:spPr>
      </p:pic>
    </p:spTree>
    <p:extLst>
      <p:ext uri="{BB962C8B-B14F-4D97-AF65-F5344CB8AC3E}">
        <p14:creationId xmlns:p14="http://schemas.microsoft.com/office/powerpoint/2010/main" val="507428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6</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086795" cy="822325"/>
          </a:xfrm>
        </p:spPr>
        <p:txBody>
          <a:bodyPr/>
          <a:lstStyle/>
          <a:p>
            <a:r>
              <a:rPr lang="en-GB" sz="2800"/>
              <a:t>Treatment success after 24 months among </a:t>
            </a:r>
            <a:br>
              <a:rPr lang="en-GB" sz="2800"/>
            </a:br>
            <a:r>
              <a:rPr lang="en-GB" sz="2800"/>
              <a:t>pre-XDR TB cases started on second-line treatment in 2020, EU/EEA*, 2022</a:t>
            </a:r>
            <a:endParaRPr lang="nl-NL" sz="2800"/>
          </a:p>
        </p:txBody>
      </p:sp>
      <p:sp>
        <p:nvSpPr>
          <p:cNvPr id="3" name="TextBox 2">
            <a:extLst>
              <a:ext uri="{FF2B5EF4-FFF2-40B4-BE49-F238E27FC236}">
                <a16:creationId xmlns:a16="http://schemas.microsoft.com/office/drawing/2014/main" id="{44264F5C-368D-11FC-9493-5849D4CF80F6}"/>
              </a:ext>
            </a:extLst>
          </p:cNvPr>
          <p:cNvSpPr txBox="1"/>
          <p:nvPr/>
        </p:nvSpPr>
        <p:spPr>
          <a:xfrm>
            <a:off x="662662" y="1961316"/>
            <a:ext cx="2212500" cy="2935367"/>
          </a:xfrm>
          <a:prstGeom prst="snip2DiagRect">
            <a:avLst/>
          </a:prstGeom>
          <a:solidFill>
            <a:srgbClr val="ACDDEF">
              <a:alpha val="50196"/>
            </a:srgbClr>
          </a:solidFill>
        </p:spPr>
        <p:txBody>
          <a:bodyPr wrap="square" lIns="91440" tIns="45720" rIns="91440" bIns="45720" rtlCol="0" anchor="t">
            <a:spAutoFit/>
          </a:bodyPr>
          <a:lstStyle/>
          <a:p>
            <a:pPr marL="96520">
              <a:lnSpc>
                <a:spcPct val="100000"/>
              </a:lnSpc>
              <a:spcAft>
                <a:spcPts val="0"/>
              </a:spcAft>
            </a:pPr>
            <a:r>
              <a:rPr lang="en-US" b="1"/>
              <a:t>22.0</a:t>
            </a:r>
            <a:r>
              <a:rPr lang="en-US" sz="1800" b="1"/>
              <a:t>% </a:t>
            </a:r>
            <a:r>
              <a:rPr lang="en-US" sz="1800"/>
              <a:t>of all pre-XDR TB cases started on second-line treatment in 2020 were successfully treated (range </a:t>
            </a:r>
            <a:r>
              <a:rPr lang="en-US"/>
              <a:t>2.9–100</a:t>
            </a:r>
            <a:r>
              <a:rPr lang="en-US" sz="1800"/>
              <a:t>%)</a:t>
            </a:r>
            <a:endParaRPr lang="en-GB" sz="1800">
              <a:ea typeface="Tahoma"/>
              <a:cs typeface="Tahoma"/>
            </a:endParaRPr>
          </a:p>
        </p:txBody>
      </p:sp>
      <p:sp>
        <p:nvSpPr>
          <p:cNvPr id="5" name="Rectangle 4">
            <a:extLst>
              <a:ext uri="{FF2B5EF4-FFF2-40B4-BE49-F238E27FC236}">
                <a16:creationId xmlns:a16="http://schemas.microsoft.com/office/drawing/2014/main" id="{9F5BEAF7-14B0-4E79-AD17-760CB61C3C21}"/>
              </a:ext>
            </a:extLst>
          </p:cNvPr>
          <p:cNvSpPr/>
          <p:nvPr/>
        </p:nvSpPr>
        <p:spPr>
          <a:xfrm>
            <a:off x="-1743" y="5485758"/>
            <a:ext cx="4408947" cy="1015663"/>
          </a:xfrm>
          <a:prstGeom prst="rect">
            <a:avLst/>
          </a:prstGeom>
        </p:spPr>
        <p:txBody>
          <a:bodyPr wrap="square" lIns="91440" tIns="45720" rIns="91440" bIns="45720" anchor="t">
            <a:spAutoFit/>
          </a:bodyPr>
          <a:lstStyle/>
          <a:p>
            <a:r>
              <a:rPr lang="en-GB" sz="1000" spc="-30"/>
              <a:t>* Twelve countries reported zero pre-XDR TB cases in 2020: Austria, Cyprus, Denmark, Finland, Hungary, Iceland, Ireland, Liechtenstein, Netherlands, Portugal, Slovakia, Slovenia.</a:t>
            </a:r>
          </a:p>
          <a:p>
            <a:r>
              <a:rPr lang="en-GB" sz="1000" spc="-30"/>
              <a:t>   Ten countries did not report treatment outcome data: Bulgaria, Croatia, France, Greece, Italy, Luxembourg, Malta, Norway, Poland and Spain. </a:t>
            </a:r>
            <a:br>
              <a:rPr lang="en-GB" sz="1000" spc="-30"/>
            </a:br>
            <a:r>
              <a:rPr lang="en-GB" sz="1000" spc="-30"/>
              <a:t>   </a:t>
            </a:r>
            <a:r>
              <a:rPr lang="en-GB" sz="1000"/>
              <a:t>Latvia did not report data for 2018-2020.</a:t>
            </a:r>
            <a:endParaRPr lang="en-GB" sz="1000" spc="-30"/>
          </a:p>
        </p:txBody>
      </p:sp>
      <p:sp>
        <p:nvSpPr>
          <p:cNvPr id="7" name="Text Box 83">
            <a:extLst>
              <a:ext uri="{FF2B5EF4-FFF2-40B4-BE49-F238E27FC236}">
                <a16:creationId xmlns:a16="http://schemas.microsoft.com/office/drawing/2014/main" id="{BE6994E7-AF63-322A-010C-5D5F0CC09542}"/>
              </a:ext>
            </a:extLst>
          </p:cNvPr>
          <p:cNvSpPr txBox="1">
            <a:spLocks noChangeArrowheads="1"/>
          </p:cNvSpPr>
          <p:nvPr/>
        </p:nvSpPr>
        <p:spPr bwMode="auto">
          <a:xfrm>
            <a:off x="124294" y="6595843"/>
            <a:ext cx="3852903"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11" name="Picture 10" descr="A map of europe with different colored countries/regions&#10;&#10;Description automatically generated">
            <a:extLst>
              <a:ext uri="{FF2B5EF4-FFF2-40B4-BE49-F238E27FC236}">
                <a16:creationId xmlns:a16="http://schemas.microsoft.com/office/drawing/2014/main" id="{294EB57A-E6BC-071A-4EC2-9A8B6C1DBB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0574" y="1494894"/>
            <a:ext cx="7591425" cy="5363106"/>
          </a:xfrm>
          <a:prstGeom prst="rect">
            <a:avLst/>
          </a:prstGeom>
        </p:spPr>
      </p:pic>
    </p:spTree>
    <p:extLst>
      <p:ext uri="{BB962C8B-B14F-4D97-AF65-F5344CB8AC3E}">
        <p14:creationId xmlns:p14="http://schemas.microsoft.com/office/powerpoint/2010/main" val="1357619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27</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44073" y="282696"/>
            <a:ext cx="8172206" cy="822325"/>
          </a:xfrm>
        </p:spPr>
        <p:txBody>
          <a:bodyPr/>
          <a:lstStyle/>
          <a:p>
            <a:r>
              <a:rPr lang="en-GB" sz="2400"/>
              <a:t>Treatment outcomes new &amp; relapse TB, RR/MDR, pre-XDR, XDR TB cases, EU/EEA*, 2022</a:t>
            </a:r>
            <a:endParaRPr lang="nl-NL" sz="2400"/>
          </a:p>
        </p:txBody>
      </p:sp>
      <p:graphicFrame>
        <p:nvGraphicFramePr>
          <p:cNvPr id="3" name="Table 7">
            <a:extLst>
              <a:ext uri="{FF2B5EF4-FFF2-40B4-BE49-F238E27FC236}">
                <a16:creationId xmlns:a16="http://schemas.microsoft.com/office/drawing/2014/main" id="{65D3FA8E-0938-AF47-28F0-E5B5E5D6392B}"/>
              </a:ext>
            </a:extLst>
          </p:cNvPr>
          <p:cNvGraphicFramePr>
            <a:graphicFrameLocks noGrp="1"/>
          </p:cNvGraphicFramePr>
          <p:nvPr>
            <p:extLst>
              <p:ext uri="{D42A27DB-BD31-4B8C-83A1-F6EECF244321}">
                <p14:modId xmlns:p14="http://schemas.microsoft.com/office/powerpoint/2010/main" val="1070577781"/>
              </p:ext>
            </p:extLst>
          </p:nvPr>
        </p:nvGraphicFramePr>
        <p:xfrm>
          <a:off x="1581354" y="1695160"/>
          <a:ext cx="9086646" cy="3720903"/>
        </p:xfrm>
        <a:graphic>
          <a:graphicData uri="http://schemas.openxmlformats.org/drawingml/2006/table">
            <a:tbl>
              <a:tblPr firstRow="1" bandRow="1">
                <a:tableStyleId>{7DF18680-E054-41AD-8BC1-D1AEF772440D}</a:tableStyleId>
              </a:tblPr>
              <a:tblGrid>
                <a:gridCol w="1803278">
                  <a:extLst>
                    <a:ext uri="{9D8B030D-6E8A-4147-A177-3AD203B41FA5}">
                      <a16:colId xmlns:a16="http://schemas.microsoft.com/office/drawing/2014/main" val="1780025521"/>
                    </a:ext>
                  </a:extLst>
                </a:gridCol>
                <a:gridCol w="1826697">
                  <a:extLst>
                    <a:ext uri="{9D8B030D-6E8A-4147-A177-3AD203B41FA5}">
                      <a16:colId xmlns:a16="http://schemas.microsoft.com/office/drawing/2014/main" val="3289410401"/>
                    </a:ext>
                  </a:extLst>
                </a:gridCol>
                <a:gridCol w="1826697">
                  <a:extLst>
                    <a:ext uri="{9D8B030D-6E8A-4147-A177-3AD203B41FA5}">
                      <a16:colId xmlns:a16="http://schemas.microsoft.com/office/drawing/2014/main" val="537447407"/>
                    </a:ext>
                  </a:extLst>
                </a:gridCol>
                <a:gridCol w="1814987">
                  <a:extLst>
                    <a:ext uri="{9D8B030D-6E8A-4147-A177-3AD203B41FA5}">
                      <a16:colId xmlns:a16="http://schemas.microsoft.com/office/drawing/2014/main" val="359899764"/>
                    </a:ext>
                  </a:extLst>
                </a:gridCol>
                <a:gridCol w="1814987">
                  <a:extLst>
                    <a:ext uri="{9D8B030D-6E8A-4147-A177-3AD203B41FA5}">
                      <a16:colId xmlns:a16="http://schemas.microsoft.com/office/drawing/2014/main" val="3741341567"/>
                    </a:ext>
                  </a:extLst>
                </a:gridCol>
              </a:tblGrid>
              <a:tr h="687898">
                <a:tc>
                  <a:txBody>
                    <a:bodyPr/>
                    <a:lstStyle/>
                    <a:p>
                      <a:endParaRPr lang="en-GB"/>
                    </a:p>
                  </a:txBody>
                  <a:tcPr/>
                </a:tc>
                <a:tc>
                  <a:txBody>
                    <a:bodyPr/>
                    <a:lstStyle/>
                    <a:p>
                      <a:pPr algn="ctr"/>
                      <a:r>
                        <a:rPr lang="en-GB"/>
                        <a:t>New &amp; relapse TB, 12 months</a:t>
                      </a:r>
                    </a:p>
                  </a:txBody>
                  <a:tcPr/>
                </a:tc>
                <a:tc>
                  <a:txBody>
                    <a:bodyPr/>
                    <a:lstStyle/>
                    <a:p>
                      <a:pPr algn="ctr"/>
                      <a:r>
                        <a:rPr lang="en-GB" dirty="0"/>
                        <a:t>RR/MDR TB, </a:t>
                      </a:r>
                    </a:p>
                    <a:p>
                      <a:pPr algn="ctr"/>
                      <a:r>
                        <a:rPr lang="en-GB" dirty="0"/>
                        <a:t>24 months</a:t>
                      </a:r>
                    </a:p>
                  </a:txBody>
                  <a:tcPr/>
                </a:tc>
                <a:tc>
                  <a:txBody>
                    <a:bodyPr/>
                    <a:lstStyle/>
                    <a:p>
                      <a:pPr algn="ctr"/>
                      <a:r>
                        <a:rPr lang="en-GB" dirty="0"/>
                        <a:t>Pre-XDR TB, </a:t>
                      </a:r>
                    </a:p>
                    <a:p>
                      <a:pPr algn="ctr"/>
                      <a:r>
                        <a:rPr lang="en-GB" dirty="0"/>
                        <a:t>24 months</a:t>
                      </a:r>
                    </a:p>
                  </a:txBody>
                  <a:tcPr/>
                </a:tc>
                <a:tc>
                  <a:txBody>
                    <a:bodyPr/>
                    <a:lstStyle/>
                    <a:p>
                      <a:pPr algn="ctr"/>
                      <a:r>
                        <a:rPr lang="en-GB" dirty="0"/>
                        <a:t>XDR TB, </a:t>
                      </a:r>
                    </a:p>
                    <a:p>
                      <a:pPr algn="ctr"/>
                      <a:r>
                        <a:rPr lang="en-GB" dirty="0"/>
                        <a:t>36 months</a:t>
                      </a:r>
                    </a:p>
                  </a:txBody>
                  <a:tcPr/>
                </a:tc>
                <a:extLst>
                  <a:ext uri="{0D108BD9-81ED-4DB2-BD59-A6C34878D82A}">
                    <a16:rowId xmlns:a16="http://schemas.microsoft.com/office/drawing/2014/main" val="3766434846"/>
                  </a:ext>
                </a:extLst>
              </a:tr>
              <a:tr h="687898">
                <a:tc>
                  <a:txBody>
                    <a:bodyPr/>
                    <a:lstStyle/>
                    <a:p>
                      <a:r>
                        <a:rPr lang="en-GB" b="1"/>
                        <a:t>Cases started on treatment</a:t>
                      </a:r>
                    </a:p>
                  </a:txBody>
                  <a:tcPr/>
                </a:tc>
                <a:tc>
                  <a:txBody>
                    <a:bodyPr/>
                    <a:lstStyle/>
                    <a:p>
                      <a:pPr algn="ctr"/>
                      <a:r>
                        <a:rPr lang="en-GB"/>
                        <a:t>24 468</a:t>
                      </a:r>
                    </a:p>
                  </a:txBody>
                  <a:tcPr/>
                </a:tc>
                <a:tc>
                  <a:txBody>
                    <a:bodyPr/>
                    <a:lstStyle/>
                    <a:p>
                      <a:pPr algn="ctr"/>
                      <a:r>
                        <a:rPr lang="en-GB">
                          <a:solidFill>
                            <a:schemeClr val="tx1"/>
                          </a:solidFill>
                        </a:rPr>
                        <a:t>566</a:t>
                      </a:r>
                    </a:p>
                  </a:txBody>
                  <a:tcPr/>
                </a:tc>
                <a:tc>
                  <a:txBody>
                    <a:bodyPr/>
                    <a:lstStyle/>
                    <a:p>
                      <a:pPr algn="ctr"/>
                      <a:r>
                        <a:rPr lang="en-GB">
                          <a:solidFill>
                            <a:schemeClr val="tx1"/>
                          </a:solidFill>
                        </a:rPr>
                        <a:t>91</a:t>
                      </a:r>
                    </a:p>
                  </a:txBody>
                  <a:tcPr/>
                </a:tc>
                <a:tc>
                  <a:txBody>
                    <a:bodyPr/>
                    <a:lstStyle/>
                    <a:p>
                      <a:pPr algn="ctr"/>
                      <a:r>
                        <a:rPr lang="en-GB">
                          <a:solidFill>
                            <a:schemeClr val="tx1"/>
                          </a:solidFill>
                        </a:rPr>
                        <a:t>2</a:t>
                      </a:r>
                    </a:p>
                  </a:txBody>
                  <a:tcPr/>
                </a:tc>
                <a:extLst>
                  <a:ext uri="{0D108BD9-81ED-4DB2-BD59-A6C34878D82A}">
                    <a16:rowId xmlns:a16="http://schemas.microsoft.com/office/drawing/2014/main" val="1833022514"/>
                  </a:ext>
                </a:extLst>
              </a:tr>
              <a:tr h="687898">
                <a:tc>
                  <a:txBody>
                    <a:bodyPr/>
                    <a:lstStyle/>
                    <a:p>
                      <a:r>
                        <a:rPr lang="en-GB" b="1"/>
                        <a:t>Countries reporting cases</a:t>
                      </a:r>
                    </a:p>
                  </a:txBody>
                  <a:tcPr/>
                </a:tc>
                <a:tc>
                  <a:txBody>
                    <a:bodyPr/>
                    <a:lstStyle/>
                    <a:p>
                      <a:pPr algn="ctr"/>
                      <a:r>
                        <a:rPr lang="en-GB"/>
                        <a:t>25</a:t>
                      </a:r>
                    </a:p>
                  </a:txBody>
                  <a:tcPr/>
                </a:tc>
                <a:tc>
                  <a:txBody>
                    <a:bodyPr/>
                    <a:lstStyle/>
                    <a:p>
                      <a:pPr algn="ctr"/>
                      <a:r>
                        <a:rPr lang="en-GB">
                          <a:solidFill>
                            <a:schemeClr val="tx1"/>
                          </a:solidFill>
                        </a:rPr>
                        <a:t>17</a:t>
                      </a:r>
                    </a:p>
                  </a:txBody>
                  <a:tcPr/>
                </a:tc>
                <a:tc>
                  <a:txBody>
                    <a:bodyPr/>
                    <a:lstStyle/>
                    <a:p>
                      <a:pPr algn="ctr"/>
                      <a:r>
                        <a:rPr lang="en-GB">
                          <a:solidFill>
                            <a:schemeClr val="tx1"/>
                          </a:solidFill>
                        </a:rPr>
                        <a:t>7</a:t>
                      </a:r>
                    </a:p>
                  </a:txBody>
                  <a:tcPr/>
                </a:tc>
                <a:tc>
                  <a:txBody>
                    <a:bodyPr/>
                    <a:lstStyle/>
                    <a:p>
                      <a:pPr algn="ctr"/>
                      <a:r>
                        <a:rPr lang="en-GB">
                          <a:solidFill>
                            <a:schemeClr val="tx1"/>
                          </a:solidFill>
                        </a:rPr>
                        <a:t>1</a:t>
                      </a:r>
                    </a:p>
                  </a:txBody>
                  <a:tcPr/>
                </a:tc>
                <a:extLst>
                  <a:ext uri="{0D108BD9-81ED-4DB2-BD59-A6C34878D82A}">
                    <a16:rowId xmlns:a16="http://schemas.microsoft.com/office/drawing/2014/main" val="2463445033"/>
                  </a:ext>
                </a:extLst>
              </a:tr>
              <a:tr h="969311">
                <a:tc>
                  <a:txBody>
                    <a:bodyPr/>
                    <a:lstStyle/>
                    <a:p>
                      <a:r>
                        <a:rPr lang="en-GB" b="1"/>
                        <a:t>Countries reporting 0 cases </a:t>
                      </a:r>
                    </a:p>
                  </a:txBody>
                  <a:tcPr/>
                </a:tc>
                <a:tc>
                  <a:txBody>
                    <a:bodyPr/>
                    <a:lstStyle/>
                    <a:p>
                      <a:pPr algn="ctr"/>
                      <a:r>
                        <a:rPr lang="en-GB"/>
                        <a:t>0</a:t>
                      </a:r>
                    </a:p>
                  </a:txBody>
                  <a:tcPr/>
                </a:tc>
                <a:tc>
                  <a:txBody>
                    <a:bodyPr/>
                    <a:lstStyle/>
                    <a:p>
                      <a:pPr algn="ctr"/>
                      <a:r>
                        <a:rPr lang="en-GB">
                          <a:solidFill>
                            <a:schemeClr val="tx1"/>
                          </a:solidFill>
                        </a:rPr>
                        <a:t>3</a:t>
                      </a:r>
                    </a:p>
                  </a:txBody>
                  <a:tcPr/>
                </a:tc>
                <a:tc>
                  <a:txBody>
                    <a:bodyPr/>
                    <a:lstStyle/>
                    <a:p>
                      <a:pPr algn="ctr"/>
                      <a:r>
                        <a:rPr lang="en-GB">
                          <a:solidFill>
                            <a:schemeClr val="tx1"/>
                          </a:solidFill>
                        </a:rPr>
                        <a:t>12</a:t>
                      </a:r>
                    </a:p>
                  </a:txBody>
                  <a:tcPr/>
                </a:tc>
                <a:tc>
                  <a:txBody>
                    <a:bodyPr/>
                    <a:lstStyle/>
                    <a:p>
                      <a:pPr algn="ctr"/>
                      <a:r>
                        <a:rPr lang="en-GB">
                          <a:solidFill>
                            <a:schemeClr val="tx1"/>
                          </a:solidFill>
                        </a:rPr>
                        <a:t>18</a:t>
                      </a:r>
                    </a:p>
                  </a:txBody>
                  <a:tcPr/>
                </a:tc>
                <a:extLst>
                  <a:ext uri="{0D108BD9-81ED-4DB2-BD59-A6C34878D82A}">
                    <a16:rowId xmlns:a16="http://schemas.microsoft.com/office/drawing/2014/main" val="1750244492"/>
                  </a:ext>
                </a:extLst>
              </a:tr>
              <a:tr h="687898">
                <a:tc>
                  <a:txBody>
                    <a:bodyPr/>
                    <a:lstStyle/>
                    <a:p>
                      <a:r>
                        <a:rPr lang="en-GB" b="1"/>
                        <a:t>Treatment success</a:t>
                      </a:r>
                    </a:p>
                  </a:txBody>
                  <a:tcPr/>
                </a:tc>
                <a:tc>
                  <a:txBody>
                    <a:bodyPr/>
                    <a:lstStyle/>
                    <a:p>
                      <a:pPr algn="ctr"/>
                      <a:r>
                        <a:rPr lang="en-GB"/>
                        <a:t>64.0%</a:t>
                      </a:r>
                    </a:p>
                  </a:txBody>
                  <a:tcPr/>
                </a:tc>
                <a:tc>
                  <a:txBody>
                    <a:bodyPr/>
                    <a:lstStyle/>
                    <a:p>
                      <a:pPr algn="ctr"/>
                      <a:r>
                        <a:rPr lang="en-GB">
                          <a:solidFill>
                            <a:schemeClr val="tx1"/>
                          </a:solidFill>
                        </a:rPr>
                        <a:t>52.5%</a:t>
                      </a:r>
                    </a:p>
                  </a:txBody>
                  <a:tcPr/>
                </a:tc>
                <a:tc>
                  <a:txBody>
                    <a:bodyPr/>
                    <a:lstStyle/>
                    <a:p>
                      <a:pPr algn="ctr"/>
                      <a:r>
                        <a:rPr lang="en-GB">
                          <a:solidFill>
                            <a:schemeClr val="tx1"/>
                          </a:solidFill>
                        </a:rPr>
                        <a:t>22.0%</a:t>
                      </a:r>
                    </a:p>
                  </a:txBody>
                  <a:tcPr/>
                </a:tc>
                <a:tc>
                  <a:txBody>
                    <a:bodyPr/>
                    <a:lstStyle/>
                    <a:p>
                      <a:pPr algn="ctr"/>
                      <a:r>
                        <a:rPr lang="en-GB" dirty="0">
                          <a:solidFill>
                            <a:schemeClr val="tx1"/>
                          </a:solidFill>
                        </a:rPr>
                        <a:t>0.0%</a:t>
                      </a:r>
                    </a:p>
                  </a:txBody>
                  <a:tcPr/>
                </a:tc>
                <a:extLst>
                  <a:ext uri="{0D108BD9-81ED-4DB2-BD59-A6C34878D82A}">
                    <a16:rowId xmlns:a16="http://schemas.microsoft.com/office/drawing/2014/main" val="715728847"/>
                  </a:ext>
                </a:extLst>
              </a:tr>
            </a:tbl>
          </a:graphicData>
        </a:graphic>
      </p:graphicFrame>
      <p:sp>
        <p:nvSpPr>
          <p:cNvPr id="5" name="Rectangle 4">
            <a:extLst>
              <a:ext uri="{FF2B5EF4-FFF2-40B4-BE49-F238E27FC236}">
                <a16:creationId xmlns:a16="http://schemas.microsoft.com/office/drawing/2014/main" id="{B35F40DD-7531-6835-D081-E6395184F89F}"/>
              </a:ext>
            </a:extLst>
          </p:cNvPr>
          <p:cNvSpPr/>
          <p:nvPr/>
        </p:nvSpPr>
        <p:spPr>
          <a:xfrm>
            <a:off x="131514" y="6492875"/>
            <a:ext cx="9776606" cy="400110"/>
          </a:xfrm>
          <a:prstGeom prst="rect">
            <a:avLst/>
          </a:prstGeom>
        </p:spPr>
        <p:txBody>
          <a:bodyPr wrap="square">
            <a:spAutoFit/>
          </a:bodyPr>
          <a:lstStyle/>
          <a:p>
            <a:r>
              <a:rPr lang="en-GB" sz="1000" spc="-30"/>
              <a:t>* </a:t>
            </a:r>
            <a:r>
              <a:rPr lang="en-GB" sz="1000"/>
              <a:t>Latvia did not report any data for 2018-2020. </a:t>
            </a:r>
            <a:endParaRPr lang="en-GB" sz="1000" spc="-30"/>
          </a:p>
          <a:p>
            <a:r>
              <a:rPr lang="en-GB" sz="1000" spc="-30"/>
              <a:t> </a:t>
            </a:r>
          </a:p>
        </p:txBody>
      </p:sp>
    </p:spTree>
    <p:extLst>
      <p:ext uri="{BB962C8B-B14F-4D97-AF65-F5344CB8AC3E}">
        <p14:creationId xmlns:p14="http://schemas.microsoft.com/office/powerpoint/2010/main" val="51248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A13BF-C73E-053F-B366-C90A55A6647A}"/>
              </a:ext>
            </a:extLst>
          </p:cNvPr>
          <p:cNvSpPr>
            <a:spLocks noGrp="1"/>
          </p:cNvSpPr>
          <p:nvPr>
            <p:ph type="title"/>
          </p:nvPr>
        </p:nvSpPr>
        <p:spPr>
          <a:xfrm>
            <a:off x="788916" y="191861"/>
            <a:ext cx="8315392" cy="833210"/>
          </a:xfrm>
        </p:spPr>
        <p:txBody>
          <a:bodyPr/>
          <a:lstStyle/>
          <a:p>
            <a:r>
              <a:rPr lang="en-GB" sz="2800" dirty="0">
                <a:latin typeface="Tahoma"/>
                <a:ea typeface="Tahoma"/>
                <a:cs typeface="Tahoma"/>
              </a:rPr>
              <a:t>Notified new and relapse TB cases, EU/EEA*, 2013–2022</a:t>
            </a:r>
          </a:p>
        </p:txBody>
      </p:sp>
      <p:sp>
        <p:nvSpPr>
          <p:cNvPr id="4" name="Slide Number Placeholder 3">
            <a:extLst>
              <a:ext uri="{FF2B5EF4-FFF2-40B4-BE49-F238E27FC236}">
                <a16:creationId xmlns:a16="http://schemas.microsoft.com/office/drawing/2014/main" id="{CF16F96F-772A-3403-A645-CD87D30ABC58}"/>
              </a:ext>
            </a:extLst>
          </p:cNvPr>
          <p:cNvSpPr>
            <a:spLocks noGrp="1"/>
          </p:cNvSpPr>
          <p:nvPr>
            <p:ph type="sldNum" sz="quarter" idx="10"/>
          </p:nvPr>
        </p:nvSpPr>
        <p:spPr/>
        <p:txBody>
          <a:bodyPr/>
          <a:lstStyle/>
          <a:p>
            <a:fld id="{0580567E-5E8F-47A5-90DF-8BFEB1A71525}" type="slidenum">
              <a:rPr lang="en-GB" smtClean="0"/>
              <a:pPr/>
              <a:t>3</a:t>
            </a:fld>
            <a:endParaRPr lang="en-GB"/>
          </a:p>
        </p:txBody>
      </p:sp>
      <p:sp>
        <p:nvSpPr>
          <p:cNvPr id="5" name="TextBox 4">
            <a:extLst>
              <a:ext uri="{FF2B5EF4-FFF2-40B4-BE49-F238E27FC236}">
                <a16:creationId xmlns:a16="http://schemas.microsoft.com/office/drawing/2014/main" id="{A0160C85-1239-B85D-227B-DE8D869B733F}"/>
              </a:ext>
            </a:extLst>
          </p:cNvPr>
          <p:cNvSpPr txBox="1"/>
          <p:nvPr/>
        </p:nvSpPr>
        <p:spPr>
          <a:xfrm>
            <a:off x="489446" y="1410410"/>
            <a:ext cx="2706978" cy="4392692"/>
          </a:xfrm>
          <a:prstGeom prst="snip2DiagRect">
            <a:avLst/>
          </a:prstGeom>
          <a:solidFill>
            <a:srgbClr val="ACDDEF">
              <a:alpha val="50000"/>
            </a:srgbClr>
          </a:solidFill>
        </p:spPr>
        <p:txBody>
          <a:bodyPr wrap="square" rtlCol="0">
            <a:spAutoFit/>
          </a:bodyPr>
          <a:lstStyle/>
          <a:p>
            <a:r>
              <a:rPr lang="en-GB" sz="1800"/>
              <a:t>Slight increase reported in 2022 compared to 2020-2021, but overall, the trend continues to decline between 2013 and 2022:</a:t>
            </a:r>
          </a:p>
          <a:p>
            <a:pPr marL="439717" indent="-342882">
              <a:buFont typeface="Arial" panose="020B0604020202020204" pitchFamily="34" charset="0"/>
              <a:buChar char="•"/>
            </a:pPr>
            <a:r>
              <a:rPr lang="en-GB" sz="1800"/>
              <a:t>Number of TB cases decreased by </a:t>
            </a:r>
            <a:r>
              <a:rPr lang="en-GB" sz="1800" b="1"/>
              <a:t>39%</a:t>
            </a:r>
          </a:p>
          <a:p>
            <a:pPr marL="439717" indent="-342882">
              <a:buFont typeface="Arial" panose="020B0604020202020204" pitchFamily="34" charset="0"/>
              <a:buChar char="•"/>
            </a:pPr>
            <a:r>
              <a:rPr lang="en-GB" sz="1800"/>
              <a:t>Notification rate decreased by </a:t>
            </a:r>
            <a:r>
              <a:rPr lang="en-GB" sz="1800" b="1"/>
              <a:t>40%</a:t>
            </a:r>
          </a:p>
        </p:txBody>
      </p:sp>
      <p:sp>
        <p:nvSpPr>
          <p:cNvPr id="7" name="Rectangle 6">
            <a:extLst>
              <a:ext uri="{FF2B5EF4-FFF2-40B4-BE49-F238E27FC236}">
                <a16:creationId xmlns:a16="http://schemas.microsoft.com/office/drawing/2014/main" id="{5F0F6174-B860-BB27-E660-330BE86116C8}"/>
              </a:ext>
            </a:extLst>
          </p:cNvPr>
          <p:cNvSpPr/>
          <p:nvPr/>
        </p:nvSpPr>
        <p:spPr>
          <a:xfrm>
            <a:off x="79270" y="6431552"/>
            <a:ext cx="8310586" cy="246221"/>
          </a:xfrm>
          <a:prstGeom prst="rect">
            <a:avLst/>
          </a:prstGeom>
        </p:spPr>
        <p:txBody>
          <a:bodyPr wrap="square">
            <a:spAutoFit/>
          </a:bodyPr>
          <a:lstStyle/>
          <a:p>
            <a:pPr lvl="0">
              <a:lnSpc>
                <a:spcPct val="100000"/>
              </a:lnSpc>
              <a:spcBef>
                <a:spcPct val="30000"/>
              </a:spcBef>
              <a:defRPr/>
            </a:pPr>
            <a:r>
              <a:rPr lang="en-GB" sz="1000"/>
              <a:t>* Data not reported and excluded from the trends presented in the figure for Latvia 2018, 2019 or 2020 and Liechtenstein 2019. </a:t>
            </a:r>
          </a:p>
        </p:txBody>
      </p:sp>
      <p:sp>
        <p:nvSpPr>
          <p:cNvPr id="11" name="Text Box 83">
            <a:extLst>
              <a:ext uri="{FF2B5EF4-FFF2-40B4-BE49-F238E27FC236}">
                <a16:creationId xmlns:a16="http://schemas.microsoft.com/office/drawing/2014/main" id="{86AEDB52-1568-B69B-1594-D9DFED514659}"/>
              </a:ext>
            </a:extLst>
          </p:cNvPr>
          <p:cNvSpPr txBox="1">
            <a:spLocks noChangeArrowheads="1"/>
          </p:cNvSpPr>
          <p:nvPr/>
        </p:nvSpPr>
        <p:spPr bwMode="auto">
          <a:xfrm>
            <a:off x="275215" y="6662577"/>
            <a:ext cx="5199895" cy="37394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pic>
        <p:nvPicPr>
          <p:cNvPr id="3" name="Picture 2">
            <a:extLst>
              <a:ext uri="{FF2B5EF4-FFF2-40B4-BE49-F238E27FC236}">
                <a16:creationId xmlns:a16="http://schemas.microsoft.com/office/drawing/2014/main" id="{170C56CE-CA8B-A84D-9338-3F627F5EB87C}"/>
              </a:ext>
            </a:extLst>
          </p:cNvPr>
          <p:cNvPicPr>
            <a:picLocks noChangeAspect="1"/>
          </p:cNvPicPr>
          <p:nvPr/>
        </p:nvPicPr>
        <p:blipFill>
          <a:blip r:embed="rId2"/>
          <a:stretch>
            <a:fillRect/>
          </a:stretch>
        </p:blipFill>
        <p:spPr>
          <a:xfrm>
            <a:off x="3758694" y="1473693"/>
            <a:ext cx="8236608" cy="4695720"/>
          </a:xfrm>
          <a:prstGeom prst="rect">
            <a:avLst/>
          </a:prstGeom>
        </p:spPr>
      </p:pic>
    </p:spTree>
    <p:extLst>
      <p:ext uri="{BB962C8B-B14F-4D97-AF65-F5344CB8AC3E}">
        <p14:creationId xmlns:p14="http://schemas.microsoft.com/office/powerpoint/2010/main" val="3068045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4</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889686" y="237062"/>
            <a:ext cx="7972914" cy="822325"/>
          </a:xfrm>
        </p:spPr>
        <p:txBody>
          <a:bodyPr/>
          <a:lstStyle/>
          <a:p>
            <a:r>
              <a:rPr lang="en-GB" sz="2800"/>
              <a:t>TB notification rate by sex and age group, EU/EEA, 2022</a:t>
            </a:r>
            <a:endParaRPr lang="nl-NL" sz="2800"/>
          </a:p>
        </p:txBody>
      </p:sp>
      <p:sp>
        <p:nvSpPr>
          <p:cNvPr id="3" name="TextBox 2">
            <a:extLst>
              <a:ext uri="{FF2B5EF4-FFF2-40B4-BE49-F238E27FC236}">
                <a16:creationId xmlns:a16="http://schemas.microsoft.com/office/drawing/2014/main" id="{ADDB18F4-0263-3222-E3FA-8222A4E21702}"/>
              </a:ext>
            </a:extLst>
          </p:cNvPr>
          <p:cNvSpPr txBox="1"/>
          <p:nvPr/>
        </p:nvSpPr>
        <p:spPr>
          <a:xfrm>
            <a:off x="889686" y="1227964"/>
            <a:ext cx="10052293" cy="771346"/>
          </a:xfrm>
          <a:prstGeom prst="snip2DiagRect">
            <a:avLst/>
          </a:prstGeom>
          <a:solidFill>
            <a:srgbClr val="ACDDEF">
              <a:alpha val="50000"/>
            </a:srgbClr>
          </a:solidFill>
        </p:spPr>
        <p:txBody>
          <a:bodyPr wrap="square" rtlCol="0">
            <a:spAutoFit/>
          </a:bodyPr>
          <a:lstStyle/>
          <a:p>
            <a:pPr marL="96835"/>
            <a:r>
              <a:rPr lang="en-GB" sz="1800"/>
              <a:t>The highest notification rate was observed in the age group </a:t>
            </a:r>
            <a:r>
              <a:rPr lang="en-GB" sz="1800" b="1"/>
              <a:t>25–44 years </a:t>
            </a:r>
            <a:r>
              <a:rPr lang="en-GB" sz="1800"/>
              <a:t>(9.5 per 100 000)</a:t>
            </a:r>
          </a:p>
          <a:p>
            <a:pPr marL="96835"/>
            <a:r>
              <a:rPr lang="en-GB" sz="1800" b="1"/>
              <a:t>Males</a:t>
            </a:r>
            <a:r>
              <a:rPr lang="en-GB" sz="1800"/>
              <a:t> were over-represented in all age groups over 14 years</a:t>
            </a:r>
            <a:endParaRPr lang="en-GB" sz="1800" b="1"/>
          </a:p>
        </p:txBody>
      </p:sp>
      <p:sp>
        <p:nvSpPr>
          <p:cNvPr id="8" name="Text Box 83">
            <a:extLst>
              <a:ext uri="{FF2B5EF4-FFF2-40B4-BE49-F238E27FC236}">
                <a16:creationId xmlns:a16="http://schemas.microsoft.com/office/drawing/2014/main" id="{7A494FB5-7C9D-07FE-3580-8AE25AEA6285}"/>
              </a:ext>
            </a:extLst>
          </p:cNvPr>
          <p:cNvSpPr txBox="1">
            <a:spLocks noChangeArrowheads="1"/>
          </p:cNvSpPr>
          <p:nvPr/>
        </p:nvSpPr>
        <p:spPr bwMode="auto">
          <a:xfrm>
            <a:off x="275215" y="6662577"/>
            <a:ext cx="5199895" cy="124650"/>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pic>
        <p:nvPicPr>
          <p:cNvPr id="2" name="Picture 1">
            <a:extLst>
              <a:ext uri="{FF2B5EF4-FFF2-40B4-BE49-F238E27FC236}">
                <a16:creationId xmlns:a16="http://schemas.microsoft.com/office/drawing/2014/main" id="{FED5F197-0A11-83DF-A527-E8EE1E86D677}"/>
              </a:ext>
            </a:extLst>
          </p:cNvPr>
          <p:cNvPicPr>
            <a:picLocks noChangeAspect="1"/>
          </p:cNvPicPr>
          <p:nvPr/>
        </p:nvPicPr>
        <p:blipFill>
          <a:blip r:embed="rId2"/>
          <a:stretch>
            <a:fillRect/>
          </a:stretch>
        </p:blipFill>
        <p:spPr>
          <a:xfrm>
            <a:off x="1877202" y="2078324"/>
            <a:ext cx="8437595" cy="4401693"/>
          </a:xfrm>
          <a:prstGeom prst="rect">
            <a:avLst/>
          </a:prstGeom>
        </p:spPr>
      </p:pic>
    </p:spTree>
    <p:extLst>
      <p:ext uri="{BB962C8B-B14F-4D97-AF65-F5344CB8AC3E}">
        <p14:creationId xmlns:p14="http://schemas.microsoft.com/office/powerpoint/2010/main" val="29096957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5</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TB notification rate by age group, EU/EEA*, </a:t>
            </a:r>
            <a:br>
              <a:rPr lang="en-GB" sz="2800"/>
            </a:br>
            <a:r>
              <a:rPr lang="en-GB" sz="2800"/>
              <a:t>2013–2022</a:t>
            </a:r>
            <a:endParaRPr lang="nl-NL" sz="2800"/>
          </a:p>
        </p:txBody>
      </p:sp>
      <p:sp>
        <p:nvSpPr>
          <p:cNvPr id="3" name="TextBox 2">
            <a:extLst>
              <a:ext uri="{FF2B5EF4-FFF2-40B4-BE49-F238E27FC236}">
                <a16:creationId xmlns:a16="http://schemas.microsoft.com/office/drawing/2014/main" id="{99A44D11-D299-72B9-7F29-F0AE8052CB34}"/>
              </a:ext>
            </a:extLst>
          </p:cNvPr>
          <p:cNvSpPr txBox="1"/>
          <p:nvPr/>
        </p:nvSpPr>
        <p:spPr>
          <a:xfrm>
            <a:off x="1898564" y="1207097"/>
            <a:ext cx="7842422" cy="440769"/>
          </a:xfrm>
          <a:prstGeom prst="snip2DiagRect">
            <a:avLst/>
          </a:prstGeom>
          <a:solidFill>
            <a:srgbClr val="ACDDEF">
              <a:alpha val="50000"/>
            </a:srgbClr>
          </a:solidFill>
        </p:spPr>
        <p:txBody>
          <a:bodyPr wrap="square" rtlCol="0">
            <a:spAutoFit/>
          </a:bodyPr>
          <a:lstStyle/>
          <a:p>
            <a:r>
              <a:rPr lang="en-GB" sz="1800"/>
              <a:t>Annual average decrease of between </a:t>
            </a:r>
            <a:r>
              <a:rPr lang="en-GB" b="1"/>
              <a:t>5.5</a:t>
            </a:r>
            <a:r>
              <a:rPr lang="en-GB" sz="1800" b="1"/>
              <a:t> to </a:t>
            </a:r>
            <a:r>
              <a:rPr lang="en-GB" b="1"/>
              <a:t>7.7</a:t>
            </a:r>
            <a:r>
              <a:rPr lang="en-GB" sz="1800" b="1"/>
              <a:t>% </a:t>
            </a:r>
            <a:r>
              <a:rPr lang="en-GB" sz="1800"/>
              <a:t>in all age groups</a:t>
            </a:r>
          </a:p>
        </p:txBody>
      </p:sp>
      <p:sp>
        <p:nvSpPr>
          <p:cNvPr id="5" name="Rectangle 4">
            <a:extLst>
              <a:ext uri="{FF2B5EF4-FFF2-40B4-BE49-F238E27FC236}">
                <a16:creationId xmlns:a16="http://schemas.microsoft.com/office/drawing/2014/main" id="{FDDF82D0-E205-D4C5-649F-87812F532641}"/>
              </a:ext>
            </a:extLst>
          </p:cNvPr>
          <p:cNvSpPr/>
          <p:nvPr/>
        </p:nvSpPr>
        <p:spPr>
          <a:xfrm>
            <a:off x="88599" y="6412890"/>
            <a:ext cx="8643507" cy="246221"/>
          </a:xfrm>
          <a:prstGeom prst="rect">
            <a:avLst/>
          </a:prstGeom>
        </p:spPr>
        <p:txBody>
          <a:bodyPr wrap="square">
            <a:spAutoFit/>
          </a:bodyPr>
          <a:lstStyle/>
          <a:p>
            <a:pPr lvl="0">
              <a:lnSpc>
                <a:spcPct val="100000"/>
              </a:lnSpc>
              <a:spcBef>
                <a:spcPct val="30000"/>
              </a:spcBef>
              <a:defRPr/>
            </a:pPr>
            <a:r>
              <a:rPr lang="en-GB" sz="1000"/>
              <a:t>* Data not reported and excluded from the trends presented in the figure for Latvia 2018, 2019 or 2020 and Liechtenstein 2019.</a:t>
            </a:r>
          </a:p>
        </p:txBody>
      </p:sp>
      <p:sp>
        <p:nvSpPr>
          <p:cNvPr id="7" name="Text Box 83">
            <a:extLst>
              <a:ext uri="{FF2B5EF4-FFF2-40B4-BE49-F238E27FC236}">
                <a16:creationId xmlns:a16="http://schemas.microsoft.com/office/drawing/2014/main" id="{8F6D6683-C4A7-40F4-C65F-780882C20765}"/>
              </a:ext>
            </a:extLst>
          </p:cNvPr>
          <p:cNvSpPr txBox="1">
            <a:spLocks noChangeArrowheads="1"/>
          </p:cNvSpPr>
          <p:nvPr/>
        </p:nvSpPr>
        <p:spPr bwMode="auto">
          <a:xfrm>
            <a:off x="275215" y="6662577"/>
            <a:ext cx="5199895"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pic>
        <p:nvPicPr>
          <p:cNvPr id="8" name="Picture 7">
            <a:extLst>
              <a:ext uri="{FF2B5EF4-FFF2-40B4-BE49-F238E27FC236}">
                <a16:creationId xmlns:a16="http://schemas.microsoft.com/office/drawing/2014/main" id="{3F7B9005-2766-DE60-EED8-BEEE49F548FD}"/>
              </a:ext>
            </a:extLst>
          </p:cNvPr>
          <p:cNvPicPr>
            <a:picLocks noChangeAspect="1"/>
          </p:cNvPicPr>
          <p:nvPr/>
        </p:nvPicPr>
        <p:blipFill>
          <a:blip r:embed="rId2"/>
          <a:stretch>
            <a:fillRect/>
          </a:stretch>
        </p:blipFill>
        <p:spPr>
          <a:xfrm>
            <a:off x="1677184" y="1927043"/>
            <a:ext cx="8285182" cy="4139543"/>
          </a:xfrm>
          <a:prstGeom prst="rect">
            <a:avLst/>
          </a:prstGeom>
        </p:spPr>
      </p:pic>
    </p:spTree>
    <p:extLst>
      <p:ext uri="{BB962C8B-B14F-4D97-AF65-F5344CB8AC3E}">
        <p14:creationId xmlns:p14="http://schemas.microsoft.com/office/powerpoint/2010/main" val="1884321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map of europe with different colored areas&#10;&#10;Description automatically generated">
            <a:extLst>
              <a:ext uri="{FF2B5EF4-FFF2-40B4-BE49-F238E27FC236}">
                <a16:creationId xmlns:a16="http://schemas.microsoft.com/office/drawing/2014/main" id="{DEC4912E-3356-C551-2135-A998A23BE4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7951" y="1074056"/>
            <a:ext cx="8194049" cy="5788842"/>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6</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7"/>
            <a:ext cx="8194048" cy="814584"/>
          </a:xfrm>
        </p:spPr>
        <p:txBody>
          <a:bodyPr/>
          <a:lstStyle/>
          <a:p>
            <a:r>
              <a:rPr lang="en-GB" sz="2800"/>
              <a:t>TB in children under 15 years, EU/EEA, 2022</a:t>
            </a:r>
            <a:endParaRPr lang="nl-NL" sz="2800"/>
          </a:p>
        </p:txBody>
      </p:sp>
      <p:sp>
        <p:nvSpPr>
          <p:cNvPr id="2" name="TextBox 1">
            <a:extLst>
              <a:ext uri="{FF2B5EF4-FFF2-40B4-BE49-F238E27FC236}">
                <a16:creationId xmlns:a16="http://schemas.microsoft.com/office/drawing/2014/main" id="{9047E831-54A5-C5B9-F5DA-1EFC6C319C9F}"/>
              </a:ext>
            </a:extLst>
          </p:cNvPr>
          <p:cNvSpPr txBox="1"/>
          <p:nvPr/>
        </p:nvSpPr>
        <p:spPr>
          <a:xfrm>
            <a:off x="606705" y="1754981"/>
            <a:ext cx="2709880" cy="3348038"/>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1 214 </a:t>
            </a:r>
            <a:r>
              <a:rPr lang="en-GB" sz="1800"/>
              <a:t>TB cases notified in children under 15 years</a:t>
            </a:r>
          </a:p>
          <a:p>
            <a:pPr marL="96834">
              <a:lnSpc>
                <a:spcPct val="100000"/>
              </a:lnSpc>
              <a:spcAft>
                <a:spcPts val="0"/>
              </a:spcAft>
            </a:pPr>
            <a:endParaRPr lang="en-GB" sz="1100" b="1"/>
          </a:p>
          <a:p>
            <a:pPr marL="96834">
              <a:lnSpc>
                <a:spcPct val="100000"/>
              </a:lnSpc>
              <a:spcAft>
                <a:spcPts val="0"/>
              </a:spcAft>
            </a:pPr>
            <a:r>
              <a:rPr lang="en-GB" sz="1800" b="1"/>
              <a:t>3.6%</a:t>
            </a:r>
            <a:r>
              <a:rPr lang="en-GB" sz="1800"/>
              <a:t> of all TB cases (range 0.0–18.3%)</a:t>
            </a:r>
          </a:p>
          <a:p>
            <a:pPr marL="96834">
              <a:lnSpc>
                <a:spcPct val="100000"/>
              </a:lnSpc>
              <a:spcAft>
                <a:spcPts val="0"/>
              </a:spcAft>
            </a:pPr>
            <a:endParaRPr lang="en-GB" sz="1100" b="1">
              <a:highlight>
                <a:srgbClr val="FFFF00"/>
              </a:highlight>
            </a:endParaRPr>
          </a:p>
          <a:p>
            <a:pPr marL="96834">
              <a:lnSpc>
                <a:spcPct val="100000"/>
              </a:lnSpc>
              <a:spcAft>
                <a:spcPts val="0"/>
              </a:spcAft>
            </a:pPr>
            <a:r>
              <a:rPr lang="en-GB" sz="1800" b="1"/>
              <a:t>1.9</a:t>
            </a:r>
            <a:r>
              <a:rPr lang="en-GB" sz="1800"/>
              <a:t> per 100 000 child population (range 0.0–27.7)</a:t>
            </a:r>
          </a:p>
        </p:txBody>
      </p:sp>
      <p:sp>
        <p:nvSpPr>
          <p:cNvPr id="7" name="Text Box 83">
            <a:extLst>
              <a:ext uri="{FF2B5EF4-FFF2-40B4-BE49-F238E27FC236}">
                <a16:creationId xmlns:a16="http://schemas.microsoft.com/office/drawing/2014/main" id="{164A4104-EDF0-D761-9C4A-496FD9F2BCB9}"/>
              </a:ext>
            </a:extLst>
          </p:cNvPr>
          <p:cNvSpPr txBox="1">
            <a:spLocks noChangeArrowheads="1"/>
          </p:cNvSpPr>
          <p:nvPr/>
        </p:nvSpPr>
        <p:spPr bwMode="auto">
          <a:xfrm>
            <a:off x="106540" y="6520173"/>
            <a:ext cx="3891412" cy="37394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spTree>
    <p:extLst>
      <p:ext uri="{BB962C8B-B14F-4D97-AF65-F5344CB8AC3E}">
        <p14:creationId xmlns:p14="http://schemas.microsoft.com/office/powerpoint/2010/main" val="4021469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map of europe with different shades of green&#10;&#10;Description automatically generated">
            <a:extLst>
              <a:ext uri="{FF2B5EF4-FFF2-40B4-BE49-F238E27FC236}">
                <a16:creationId xmlns:a16="http://schemas.microsoft.com/office/drawing/2014/main" id="{D5AB9B55-F8AB-42F4-305A-0B624E2054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7650" y="1118295"/>
            <a:ext cx="8134350" cy="5746666"/>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7</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Confirmed TB cases*, EU/EEA, 2022</a:t>
            </a:r>
            <a:endParaRPr lang="nl-NL" sz="2800"/>
          </a:p>
        </p:txBody>
      </p:sp>
      <p:sp>
        <p:nvSpPr>
          <p:cNvPr id="2" name="TextBox 1">
            <a:extLst>
              <a:ext uri="{FF2B5EF4-FFF2-40B4-BE49-F238E27FC236}">
                <a16:creationId xmlns:a16="http://schemas.microsoft.com/office/drawing/2014/main" id="{E83EDA4A-7464-20D8-922D-503A1D67DA28}"/>
              </a:ext>
            </a:extLst>
          </p:cNvPr>
          <p:cNvSpPr txBox="1"/>
          <p:nvPr/>
        </p:nvSpPr>
        <p:spPr>
          <a:xfrm>
            <a:off x="871930" y="2507515"/>
            <a:ext cx="2492706" cy="2093655"/>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25 556 </a:t>
            </a:r>
            <a:r>
              <a:rPr lang="en-GB" sz="1800"/>
              <a:t>TB cases were confirmed </a:t>
            </a:r>
          </a:p>
          <a:p>
            <a:pPr marL="96834">
              <a:lnSpc>
                <a:spcPct val="100000"/>
              </a:lnSpc>
              <a:spcAft>
                <a:spcPts val="0"/>
              </a:spcAft>
            </a:pPr>
            <a:endParaRPr lang="en-GB" sz="1800" b="1"/>
          </a:p>
          <a:p>
            <a:pPr marL="96834">
              <a:lnSpc>
                <a:spcPct val="100000"/>
              </a:lnSpc>
              <a:spcAft>
                <a:spcPts val="0"/>
              </a:spcAft>
            </a:pPr>
            <a:r>
              <a:rPr lang="en-GB" sz="1800" b="1"/>
              <a:t>71%</a:t>
            </a:r>
            <a:r>
              <a:rPr lang="en-GB" sz="1800"/>
              <a:t> of all TB cases (range 39.8–100%)</a:t>
            </a:r>
          </a:p>
        </p:txBody>
      </p:sp>
      <p:sp>
        <p:nvSpPr>
          <p:cNvPr id="5" name="Rectangle 4">
            <a:extLst>
              <a:ext uri="{FF2B5EF4-FFF2-40B4-BE49-F238E27FC236}">
                <a16:creationId xmlns:a16="http://schemas.microsoft.com/office/drawing/2014/main" id="{0E215114-D4C0-54F0-E5A5-3C93745A4729}"/>
              </a:ext>
            </a:extLst>
          </p:cNvPr>
          <p:cNvSpPr/>
          <p:nvPr/>
        </p:nvSpPr>
        <p:spPr>
          <a:xfrm>
            <a:off x="218636" y="6108581"/>
            <a:ext cx="3945361" cy="553998"/>
          </a:xfrm>
          <a:prstGeom prst="rect">
            <a:avLst/>
          </a:prstGeom>
        </p:spPr>
        <p:txBody>
          <a:bodyPr wrap="square">
            <a:spAutoFit/>
          </a:bodyPr>
          <a:lstStyle/>
          <a:p>
            <a:pPr>
              <a:lnSpc>
                <a:spcPct val="100000"/>
              </a:lnSpc>
              <a:spcBef>
                <a:spcPct val="30000"/>
              </a:spcBef>
              <a:defRPr/>
            </a:pPr>
            <a:r>
              <a:rPr lang="en-GB" sz="1000"/>
              <a:t>*Confirmation by culture, or by microscopy and </a:t>
            </a:r>
            <a:r>
              <a:rPr lang="en-GB" sz="1000" i="1"/>
              <a:t>Mycobacterium tuberculosis</a:t>
            </a:r>
            <a:r>
              <a:rPr lang="en-GB" sz="1000"/>
              <a:t> nucleic acid amplification test.</a:t>
            </a:r>
            <a:br>
              <a:rPr lang="en-GB" sz="1000"/>
            </a:br>
            <a:endParaRPr lang="en-GB" sz="1000"/>
          </a:p>
        </p:txBody>
      </p:sp>
      <p:sp>
        <p:nvSpPr>
          <p:cNvPr id="7" name="Text Box 83">
            <a:extLst>
              <a:ext uri="{FF2B5EF4-FFF2-40B4-BE49-F238E27FC236}">
                <a16:creationId xmlns:a16="http://schemas.microsoft.com/office/drawing/2014/main" id="{917169A4-F816-3954-5EFB-F2F1D9D7E9EE}"/>
              </a:ext>
            </a:extLst>
          </p:cNvPr>
          <p:cNvSpPr txBox="1">
            <a:spLocks noChangeArrowheads="1"/>
          </p:cNvSpPr>
          <p:nvPr/>
        </p:nvSpPr>
        <p:spPr bwMode="auto">
          <a:xfrm>
            <a:off x="324983" y="6537929"/>
            <a:ext cx="3808868" cy="37394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spTree>
    <p:extLst>
      <p:ext uri="{BB962C8B-B14F-4D97-AF65-F5344CB8AC3E}">
        <p14:creationId xmlns:p14="http://schemas.microsoft.com/office/powerpoint/2010/main" val="22109700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map of europe with different colored countries/regions&#10;&#10;Description automatically generated">
            <a:extLst>
              <a:ext uri="{FF2B5EF4-FFF2-40B4-BE49-F238E27FC236}">
                <a16:creationId xmlns:a16="http://schemas.microsoft.com/office/drawing/2014/main" id="{7CA60AFA-B82A-3EB9-DC70-0955B931D3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2425" y="1185354"/>
            <a:ext cx="8029575" cy="5672646"/>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8</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10318750" cy="822325"/>
          </a:xfrm>
        </p:spPr>
        <p:txBody>
          <a:bodyPr/>
          <a:lstStyle/>
          <a:p>
            <a:r>
              <a:rPr lang="en-GB" sz="2800"/>
              <a:t>Extrapulmonary TB, EU/EEA, 2022</a:t>
            </a:r>
            <a:endParaRPr lang="nl-NL" sz="2800"/>
          </a:p>
        </p:txBody>
      </p:sp>
      <p:sp>
        <p:nvSpPr>
          <p:cNvPr id="3" name="TextBox 2">
            <a:extLst>
              <a:ext uri="{FF2B5EF4-FFF2-40B4-BE49-F238E27FC236}">
                <a16:creationId xmlns:a16="http://schemas.microsoft.com/office/drawing/2014/main" id="{312A1F99-08F1-2E70-2CFB-F9BE4557FF69}"/>
              </a:ext>
            </a:extLst>
          </p:cNvPr>
          <p:cNvSpPr txBox="1"/>
          <p:nvPr/>
        </p:nvSpPr>
        <p:spPr>
          <a:xfrm>
            <a:off x="929857" y="2209732"/>
            <a:ext cx="2319007" cy="2687836"/>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a:t>6 885 </a:t>
            </a:r>
            <a:r>
              <a:rPr lang="en-GB" sz="1800"/>
              <a:t>notified cases had extrapulmonary TB</a:t>
            </a:r>
          </a:p>
          <a:p>
            <a:pPr marL="96834">
              <a:lnSpc>
                <a:spcPct val="100000"/>
              </a:lnSpc>
              <a:spcAft>
                <a:spcPts val="0"/>
              </a:spcAft>
            </a:pPr>
            <a:endParaRPr lang="en-GB" sz="1800" b="1"/>
          </a:p>
          <a:p>
            <a:pPr marL="96834">
              <a:lnSpc>
                <a:spcPct val="100000"/>
              </a:lnSpc>
              <a:spcAft>
                <a:spcPts val="0"/>
              </a:spcAft>
            </a:pPr>
            <a:r>
              <a:rPr lang="en-GB" sz="1800" b="1"/>
              <a:t>19%</a:t>
            </a:r>
            <a:r>
              <a:rPr lang="en-GB" sz="1800"/>
              <a:t> of all TB cases (range 0.0–40.8%) </a:t>
            </a:r>
          </a:p>
        </p:txBody>
      </p:sp>
      <p:sp>
        <p:nvSpPr>
          <p:cNvPr id="7" name="Text Box 83">
            <a:extLst>
              <a:ext uri="{FF2B5EF4-FFF2-40B4-BE49-F238E27FC236}">
                <a16:creationId xmlns:a16="http://schemas.microsoft.com/office/drawing/2014/main" id="{174B7056-3479-DF43-9BC3-4454928FFD62}"/>
              </a:ext>
            </a:extLst>
          </p:cNvPr>
          <p:cNvSpPr txBox="1">
            <a:spLocks noChangeArrowheads="1"/>
          </p:cNvSpPr>
          <p:nvPr/>
        </p:nvSpPr>
        <p:spPr bwMode="auto">
          <a:xfrm>
            <a:off x="275216" y="6535580"/>
            <a:ext cx="3887210" cy="24929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p:txBody>
      </p:sp>
    </p:spTree>
    <p:extLst>
      <p:ext uri="{BB962C8B-B14F-4D97-AF65-F5344CB8AC3E}">
        <p14:creationId xmlns:p14="http://schemas.microsoft.com/office/powerpoint/2010/main" val="163459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map of europe with different colored countries/regions&#10;&#10;Description automatically generated">
            <a:extLst>
              <a:ext uri="{FF2B5EF4-FFF2-40B4-BE49-F238E27FC236}">
                <a16:creationId xmlns:a16="http://schemas.microsoft.com/office/drawing/2014/main" id="{E6F1D199-5BBE-AA79-6371-A61AF56000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62025" y="1114425"/>
            <a:ext cx="8129975" cy="5743575"/>
          </a:xfrm>
          <a:prstGeom prst="rect">
            <a:avLst/>
          </a:prstGeom>
        </p:spPr>
      </p:pic>
      <p:sp>
        <p:nvSpPr>
          <p:cNvPr id="4" name="Slide Number Placeholder 3">
            <a:extLst>
              <a:ext uri="{FF2B5EF4-FFF2-40B4-BE49-F238E27FC236}">
                <a16:creationId xmlns:a16="http://schemas.microsoft.com/office/drawing/2014/main" id="{2CE85C17-DB62-A0BB-4A5C-1D12B06D7715}"/>
              </a:ext>
            </a:extLst>
          </p:cNvPr>
          <p:cNvSpPr>
            <a:spLocks noGrp="1"/>
          </p:cNvSpPr>
          <p:nvPr>
            <p:ph type="sldNum" sz="quarter" idx="10"/>
          </p:nvPr>
        </p:nvSpPr>
        <p:spPr/>
        <p:txBody>
          <a:bodyPr/>
          <a:lstStyle/>
          <a:p>
            <a:fld id="{0580567E-5E8F-47A5-90DF-8BFEB1A71525}" type="slidenum">
              <a:rPr lang="en-GB" smtClean="0"/>
              <a:pPr/>
              <a:t>9</a:t>
            </a:fld>
            <a:endParaRPr lang="en-GB"/>
          </a:p>
        </p:txBody>
      </p:sp>
      <p:sp>
        <p:nvSpPr>
          <p:cNvPr id="6" name="Title 5">
            <a:extLst>
              <a:ext uri="{FF2B5EF4-FFF2-40B4-BE49-F238E27FC236}">
                <a16:creationId xmlns:a16="http://schemas.microsoft.com/office/drawing/2014/main" id="{0FA35C7E-B4FC-9536-2935-9DB9BCC13E4D}"/>
              </a:ext>
            </a:extLst>
          </p:cNvPr>
          <p:cNvSpPr>
            <a:spLocks noGrp="1"/>
          </p:cNvSpPr>
          <p:nvPr>
            <p:ph type="title"/>
          </p:nvPr>
        </p:nvSpPr>
        <p:spPr>
          <a:xfrm>
            <a:off x="795948" y="282696"/>
            <a:ext cx="8312052" cy="822325"/>
          </a:xfrm>
        </p:spPr>
        <p:txBody>
          <a:bodyPr/>
          <a:lstStyle/>
          <a:p>
            <a:r>
              <a:rPr lang="en-GB" sz="2800"/>
              <a:t>TB in persons of foreign origin*, EU/EEA, 2022</a:t>
            </a:r>
            <a:endParaRPr lang="nl-NL" sz="2800"/>
          </a:p>
        </p:txBody>
      </p:sp>
      <p:sp>
        <p:nvSpPr>
          <p:cNvPr id="3" name="TextBox 2">
            <a:extLst>
              <a:ext uri="{FF2B5EF4-FFF2-40B4-BE49-F238E27FC236}">
                <a16:creationId xmlns:a16="http://schemas.microsoft.com/office/drawing/2014/main" id="{9F583E6F-91E4-57D0-03E3-95F198787CE8}"/>
              </a:ext>
            </a:extLst>
          </p:cNvPr>
          <p:cNvSpPr txBox="1"/>
          <p:nvPr/>
        </p:nvSpPr>
        <p:spPr>
          <a:xfrm>
            <a:off x="591686" y="2244923"/>
            <a:ext cx="2283476" cy="2368153"/>
          </a:xfrm>
          <a:prstGeom prst="snip2DiagRect">
            <a:avLst/>
          </a:prstGeom>
          <a:solidFill>
            <a:srgbClr val="ACDDEF">
              <a:alpha val="50000"/>
            </a:srgbClr>
          </a:solidFill>
        </p:spPr>
        <p:txBody>
          <a:bodyPr wrap="square" rtlCol="0">
            <a:spAutoFit/>
          </a:bodyPr>
          <a:lstStyle/>
          <a:p>
            <a:pPr marL="96834">
              <a:lnSpc>
                <a:spcPct val="100000"/>
              </a:lnSpc>
              <a:spcAft>
                <a:spcPts val="0"/>
              </a:spcAft>
            </a:pPr>
            <a:r>
              <a:rPr lang="en-GB" sz="1800" b="1" dirty="0"/>
              <a:t>12 051 </a:t>
            </a:r>
            <a:r>
              <a:rPr lang="en-GB" sz="1800" dirty="0"/>
              <a:t>TB cases of foreign* origin</a:t>
            </a:r>
          </a:p>
          <a:p>
            <a:pPr marL="96834">
              <a:lnSpc>
                <a:spcPct val="100000"/>
              </a:lnSpc>
              <a:spcAft>
                <a:spcPts val="0"/>
              </a:spcAft>
            </a:pPr>
            <a:endParaRPr lang="en-GB" sz="1600" b="1" dirty="0"/>
          </a:p>
          <a:p>
            <a:pPr marL="96834">
              <a:lnSpc>
                <a:spcPct val="100000"/>
              </a:lnSpc>
              <a:spcAft>
                <a:spcPts val="0"/>
              </a:spcAft>
            </a:pPr>
            <a:r>
              <a:rPr lang="en-GB" sz="1800" b="1" dirty="0"/>
              <a:t>33.3% </a:t>
            </a:r>
            <a:r>
              <a:rPr lang="en-GB" sz="1800" dirty="0"/>
              <a:t>of all TB cases (range 0.0–93.8%) </a:t>
            </a:r>
          </a:p>
        </p:txBody>
      </p:sp>
      <p:sp>
        <p:nvSpPr>
          <p:cNvPr id="8" name="Rectangle 7">
            <a:extLst>
              <a:ext uri="{FF2B5EF4-FFF2-40B4-BE49-F238E27FC236}">
                <a16:creationId xmlns:a16="http://schemas.microsoft.com/office/drawing/2014/main" id="{73346AB7-2BD9-A76D-3E2C-97DDB23F4483}"/>
              </a:ext>
            </a:extLst>
          </p:cNvPr>
          <p:cNvSpPr/>
          <p:nvPr/>
        </p:nvSpPr>
        <p:spPr>
          <a:xfrm>
            <a:off x="143216" y="6128415"/>
            <a:ext cx="3859560" cy="400110"/>
          </a:xfrm>
          <a:prstGeom prst="rect">
            <a:avLst/>
          </a:prstGeom>
        </p:spPr>
        <p:txBody>
          <a:bodyPr wrap="square">
            <a:spAutoFit/>
          </a:bodyPr>
          <a:lstStyle/>
          <a:p>
            <a:pPr lvl="0">
              <a:lnSpc>
                <a:spcPct val="100000"/>
              </a:lnSpc>
              <a:spcBef>
                <a:spcPct val="30000"/>
              </a:spcBef>
              <a:defRPr/>
            </a:pPr>
            <a:r>
              <a:rPr lang="en-GB" sz="1000"/>
              <a:t>* Notified in persons originating from other countries than the reporting country.</a:t>
            </a:r>
          </a:p>
        </p:txBody>
      </p:sp>
      <p:sp>
        <p:nvSpPr>
          <p:cNvPr id="9" name="Text Box 83">
            <a:extLst>
              <a:ext uri="{FF2B5EF4-FFF2-40B4-BE49-F238E27FC236}">
                <a16:creationId xmlns:a16="http://schemas.microsoft.com/office/drawing/2014/main" id="{5F661753-1392-66AB-E899-9BBF4E689DDB}"/>
              </a:ext>
            </a:extLst>
          </p:cNvPr>
          <p:cNvSpPr txBox="1">
            <a:spLocks noChangeArrowheads="1"/>
          </p:cNvSpPr>
          <p:nvPr/>
        </p:nvSpPr>
        <p:spPr bwMode="auto">
          <a:xfrm>
            <a:off x="202466" y="6537929"/>
            <a:ext cx="3859560" cy="373949"/>
          </a:xfrm>
          <a:prstGeom prst="rect">
            <a:avLst/>
          </a:prstGeom>
          <a:noFill/>
          <a:ln w="9525">
            <a:noFill/>
            <a:miter lim="800000"/>
            <a:headEnd/>
            <a:tailEnd/>
          </a:ln>
        </p:spPr>
        <p:txBody>
          <a:bodyPr wrap="square" lIns="0" tIns="0" rIns="0" bIns="0">
            <a:spAutoFit/>
          </a:bodyPr>
          <a:lstStyle/>
          <a:p>
            <a:pPr>
              <a:lnSpc>
                <a:spcPct val="90000"/>
              </a:lnSpc>
            </a:pPr>
            <a:r>
              <a:rPr lang="en-GB" sz="900">
                <a:solidFill>
                  <a:schemeClr val="tx1">
                    <a:lumMod val="50000"/>
                    <a:lumOff val="50000"/>
                  </a:schemeClr>
                </a:solidFill>
                <a:latin typeface="Calibri" panose="020F0502020204030204" pitchFamily="34" charset="0"/>
                <a:ea typeface="ＭＳ Ｐゴシック" pitchFamily="20" charset="-128"/>
              </a:rPr>
              <a:t>Source: ECDC/WHO (2024). Tuberculosis surveillance and monitoring in Europe 2024–2022 data</a:t>
            </a:r>
          </a:p>
          <a:p>
            <a:pPr>
              <a:lnSpc>
                <a:spcPct val="90000"/>
              </a:lnSpc>
            </a:pPr>
            <a:endParaRPr lang="en-GB" sz="900">
              <a:solidFill>
                <a:schemeClr val="tx1">
                  <a:lumMod val="50000"/>
                  <a:lumOff val="50000"/>
                </a:schemeClr>
              </a:solidFill>
              <a:latin typeface="Calibri" panose="020F0502020204030204" pitchFamily="34" charset="0"/>
              <a:ea typeface="ＭＳ Ｐゴシック" pitchFamily="20" charset="-128"/>
            </a:endParaRPr>
          </a:p>
        </p:txBody>
      </p:sp>
    </p:spTree>
    <p:extLst>
      <p:ext uri="{BB962C8B-B14F-4D97-AF65-F5344CB8AC3E}">
        <p14:creationId xmlns:p14="http://schemas.microsoft.com/office/powerpoint/2010/main" val="504641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QlqCi8DQgSvGxupQdDhqg"/>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5mtrgBeFTwmexwJ2ZPSemA"/>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YtHwjwkTNi1V4yHk2xdUA"/>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0ZRrn9SSxOuAIoOxNhQ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e4c7vneRHKJzPYNoD1cbA"/>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V1X2HygQZaL6qPH6k_siw"/>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TaknRq2ReaLzWxhy.prqw"/>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m2.Y6NOS6qgx9Jnf2AP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O1WHGmoS8.5PnJp92uoNg"/>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Mc5UNjTRa2JZQaZ9rQC9Q"/>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EYkRt3jRZ6ITur7BwrYBA"/>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EX89RgySrC946AUXR4O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hYzJtnZQE2vA4zBI7e6rg"/>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0WCtFusSmOdDKZV9EtAWw"/>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Su.NQieTZ6pSFzi5e0XFw"/>
</p:tagLst>
</file>

<file path=ppt/tags/tag1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_ExB.EeSYu8plXpDLFw4Q"/>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olTndmTSW.Bn8QDZqhDTw"/>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71J9k5Tz6T1.oE8NLlTw"/>
</p:tagLst>
</file>

<file path=ppt/tags/tag1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yAEc0uBT2q1re5sIretrA"/>
</p:tagLst>
</file>

<file path=ppt/tags/tag1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6Dwd.M0QtOnyfQWV9U5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JCU9Fj.IHsmGZkIiW4in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F.ExdhTlPSvzGFcGJYJ4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0ZRrn9SSxOuAIoOxNhQ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AVGqGrURkihVT6a771.Q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EX89RgySrC946AUXR4O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yAEc0uBT2q1re5sIretrA"/>
</p:tagLst>
</file>

<file path=ppt/tags/tag1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AVGqGrURkihVT6a771.QQ"/>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YlRxuQBTEiiUsnEuYzJXA"/>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LYRfrCbSWmnDxLwWxQdb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L5lQf9vQHa6ccQ8l39vbg"/>
</p:tagLst>
</file>

<file path=ppt/tags/tag1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m4t9LjsQayHMV2dn2YRNQ"/>
</p:tagLst>
</file>

<file path=ppt/tags/tag1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BNhLDPimRxq6owk7184bYg"/>
</p:tagLst>
</file>

<file path=ppt/tags/tag2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DREQyhZTpCuMSe22RwW2Q"/>
</p:tagLst>
</file>

<file path=ppt/tags/tag2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4Gl02ZaeRIC9AwU9HSFN_w"/>
</p:tagLst>
</file>

<file path=ppt/tags/tag2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LddT7yTaKCW1tH5N.C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YlRxuQBTEiiUsnEuYzJXA"/>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7BWX_ZdwQnStua1l7zkXbg"/>
</p:tagLst>
</file>

<file path=ppt/tags/tag2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Ry3ViAIQLG.kYafkH14VQ"/>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9Gm6rVPT4m3RiNIJvAzCA"/>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pKmlTOSQO60jxS1ziYVmA"/>
</p:tagLst>
</file>

<file path=ppt/tags/tag2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rXa.VYdQ6q_1tGfgcvPsg"/>
</p:tagLst>
</file>

<file path=ppt/tags/tag2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elhLRhhRTygm_5.Y8IKjw"/>
</p:tagLst>
</file>

<file path=ppt/tags/tag2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EHf.fVuQQuT5Jlq18SMgg"/>
</p:tagLst>
</file>

<file path=ppt/tags/tag2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bkk5YwMS_a2NC4JeWRYUw"/>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q0MsYGOTVuAZQTjndEoHQ"/>
</p:tagLst>
</file>

<file path=ppt/tags/tag2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LYRfrCbSWmnDxLwWxQdb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wLoI.gkT7CTTjZzwdoWeg"/>
</p:tagLst>
</file>

<file path=ppt/tags/tag2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97Tvr7enRwiNrTUD.7Wi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ZImi8zSQsuxzilDaMY0.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s2P52moR8KzVXtTtQgCfQ"/>
</p:tagLst>
</file>

<file path=ppt/tags/tag2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v.7Av8xnSHGbGbgPqosyyw"/>
</p:tagLst>
</file>

<file path=ppt/tags/tag2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L5lQf9vQHa6ccQ8l39vb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6qN1V0n_R2iAZIXJ9O0mzA"/>
</p:tagLst>
</file>

<file path=ppt/tags/tag2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iH3FaDwQRGoD5U85KHZg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7e7wC84KRFSh4R6yc.f3bg"/>
</p:tagLst>
</file>

<file path=ppt/tags/tag2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QlqCi8DQgSvGxupQdDhqg"/>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5mtrgBeFTwmexwJ2ZPSemA"/>
</p:tagLst>
</file>

<file path=ppt/tags/tag2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YtHwjwkTNi1V4yHk2xdUA"/>
</p:tagLst>
</file>

<file path=ppt/tags/tag2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e4c7vneRHKJzPYNoD1cbA"/>
</p:tagLst>
</file>

<file path=ppt/tags/tag2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V1X2HygQZaL6qPH6k_siw"/>
</p:tagLst>
</file>

<file path=ppt/tags/tag2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_TaknRq2ReaLzWxhy.prqw"/>
</p:tagLst>
</file>

<file path=ppt/tags/tag2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m2.Y6NOS6qgx9Jnf2APQw"/>
</p:tagLst>
</file>

<file path=ppt/tags/tag2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m4t9LjsQayHMV2dn2YRN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O1WHGmoS8.5PnJp92uoNg"/>
</p:tagLst>
</file>

<file path=ppt/tags/tag2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Mc5UNjTRa2JZQaZ9rQC9Q"/>
</p:tagLst>
</file>

<file path=ppt/tags/tag2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EYkRt3jRZ6ITur7BwrYBA"/>
</p:tagLst>
</file>

<file path=ppt/tags/tag2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hYzJtnZQE2vA4zBI7e6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S0WCtFusSmOdDKZV9EtAWw"/>
</p:tagLst>
</file>

<file path=ppt/tags/tag3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OSu.NQieTZ6pSFzi5e0XFw"/>
</p:tagLst>
</file>

<file path=ppt/tags/tag3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_ExB.EeSYu8plXpDLFw4Q"/>
</p:tagLst>
</file>

<file path=ppt/tags/tag3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eolTndmTSW.Bn8QDZqhDTw"/>
</p:tagLst>
</file>

<file path=ppt/tags/tag3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71J9k5Tz6T1.oE8NLlTw"/>
</p:tagLst>
</file>

<file path=ppt/tags/tag3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NhLDPimRxq6owk7184bYg"/>
</p:tagLst>
</file>

<file path=ppt/tags/tag3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M6Dwd.M0QtOnyfQWV9U5K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JCU9Fj.IHsmGZkIiW4in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F.ExdhTlPSvzGFcGJYJ4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0ZRrn9SSxOuAIoOxNhQ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DREQyhZTpCuMSe22RwW2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EX89RgySrC946AUXR4OD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yAEc0uBT2q1re5sIretrA"/>
</p:tagLst>
</file>

<file path=ppt/tags/tag3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AVGqGrURkihVT6a771.QQ"/>
</p:tagLst>
</file>

<file path=ppt/tags/tag3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YlRxuQBTEiiUsnEuYzJXA"/>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LYRfrCbSWmnDxLwWxQdb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L5lQf9vQHa6ccQ8l39vbg"/>
</p:tagLst>
</file>

<file path=ppt/tags/tag3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m4t9LjsQayHMV2dn2YRNQ"/>
</p:tagLst>
</file>

<file path=ppt/tags/tag3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BNhLDPimRxq6owk7184bYg"/>
</p:tagLst>
</file>

<file path=ppt/tags/tag3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DREQyhZTpCuMSe22RwW2Q"/>
</p:tagLst>
</file>

<file path=ppt/tags/tag3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Gl02ZaeRIC9AwU9HSFN_w"/>
</p:tagLst>
</file>

<file path=ppt/tags/tag3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LddT7yTaKCW1tH5N.C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Gl02ZaeRIC9AwU9HSFN_w"/>
</p:tagLst>
</file>

<file path=ppt/tags/tag3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BWX_ZdwQnStua1l7zkXbg"/>
</p:tagLst>
</file>

<file path=ppt/tags/tag3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Ry3ViAIQLG.kYafkH14VQ"/>
</p:tagLst>
</file>

<file path=ppt/tags/tag3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q9Gm6rVPT4m3RiNIJvAzCA"/>
</p:tagLst>
</file>

<file path=ppt/tags/tag3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6pKmlTOSQO60jxS1ziYVmA"/>
</p:tagLst>
</file>

<file path=ppt/tags/tag3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rXa.VYdQ6q_1tGfgcvPsg"/>
</p:tagLst>
</file>

<file path=ppt/tags/tag3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elhLRhhRTygm_5.Y8IKjw"/>
</p:tagLst>
</file>

<file path=ppt/tags/tag3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EHf.fVuQQuT5Jlq18SMgg"/>
</p:tagLst>
</file>

<file path=ppt/tags/tag4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bkk5YwMS_a2NC4JeWRYUw"/>
</p:tagLst>
</file>

<file path=ppt/tags/tag4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q0MsYGOTVuAZQTjndEoHQ"/>
</p:tagLst>
</file>

<file path=ppt/tags/tag4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LddT7yTaKCW1tH5N.Cf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VwLoI.gkT7CTTjZzwdoWeg"/>
</p:tagLst>
</file>

<file path=ppt/tags/tag4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97Tvr7enRwiNrTUD.7Wi0A"/>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ZImi8zSQsuxzilDaMY0.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8s2P52moR8KzVXtTtQgCfQ"/>
</p:tagLst>
</file>

<file path=ppt/tags/tag4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7Av8xnSHGbGbgPqosyyw"/>
</p:tagLst>
</file>

<file path=ppt/tags/tag4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6qN1V0n_R2iAZIXJ9O0mzA"/>
</p:tagLst>
</file>

<file path=ppt/tags/tag4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EiH3FaDwQRGoD5U85KHZg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7e7wC84KRFSh4R6yc.f3bg"/>
</p:tagLst>
</file>

<file path=ppt/tags/tag4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IQlqCi8DQgSvGxupQdDh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BWX_ZdwQnStua1l7zkXbg"/>
</p:tagLst>
</file>

<file path=ppt/tags/tag4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5mtrgBeFTwmexwJ2ZPSemA"/>
</p:tagLst>
</file>

<file path=ppt/tags/tag4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sYtHwjwkTNi1V4yHk2xdUA"/>
</p:tagLst>
</file>

<file path=ppt/tags/tag4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e4c7vneRHKJzPYNoD1cbA"/>
</p:tagLst>
</file>

<file path=ppt/tags/tag4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iV1X2HygQZaL6qPH6k_siw"/>
</p:tagLst>
</file>

<file path=ppt/tags/tag4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_TaknRq2ReaLzWxhy.prqw"/>
</p:tagLst>
</file>

<file path=ppt/tags/tag4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um2.Y6NOS6qgx9Jnf2APQw"/>
</p:tagLst>
</file>

<file path=ppt/tags/tag4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O1WHGmoS8.5PnJp92uoNg"/>
</p:tagLst>
</file>

<file path=ppt/tags/tag4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ZMc5UNjTRa2JZQaZ9rQC9Q"/>
</p:tagLst>
</file>

<file path=ppt/tags/tag4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sEYkRt3jRZ6ITur7BwrYBA"/>
</p:tagLst>
</file>

<file path=ppt/tags/tag4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VhYzJtnZQE2vA4zBI7e6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Ry3ViAIQLG.kYafkH14VQ"/>
</p:tagLst>
</file>

<file path=ppt/tags/tag4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S0WCtFusSmOdDKZV9EtAWw"/>
</p:tagLst>
</file>

<file path=ppt/tags/tag4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OSu.NQieTZ6pSFzi5e0XFw"/>
</p:tagLst>
</file>

<file path=ppt/tags/tag4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_ExB.EeSYu8plXpDLFw4Q"/>
</p:tagLst>
</file>

<file path=ppt/tags/tag4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olTndmTSW.Bn8QDZqhDTw"/>
</p:tagLst>
</file>

<file path=ppt/tags/tag4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71J9k5Tz6T1.oE8NLlTw"/>
</p:tagLst>
</file>

<file path=ppt/tags/tag4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M6Dwd.M0QtOnyfQWV9U5K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9Gm6rVPT4m3RiNIJvAzCA"/>
</p:tagLst>
</file>

<file path=ppt/tags/tag50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FJCU9Fj.IHsmGZkIiW4in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MF.ExdhTlPSvzGFcGJYJ4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16.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517.xml><?xml version="1.0" encoding="utf-8"?>
<p:tagLst xmlns:a="http://schemas.openxmlformats.org/drawingml/2006/main" xmlns:r="http://schemas.openxmlformats.org/officeDocument/2006/relationships" xmlns:p="http://schemas.openxmlformats.org/presentationml/2006/main">
  <p:tag name="NAME" val="SingleBoat"/>
</p:tagLst>
</file>

<file path=ppt/tags/tag518.xml><?xml version="1.0" encoding="utf-8"?>
<p:tagLst xmlns:a="http://schemas.openxmlformats.org/drawingml/2006/main" xmlns:r="http://schemas.openxmlformats.org/officeDocument/2006/relationships" xmlns:p="http://schemas.openxmlformats.org/presentationml/2006/main">
  <p:tag name="NAME" val="Bracket"/>
</p:tagLst>
</file>

<file path=ppt/tags/tag519.xml><?xml version="1.0" encoding="utf-8"?>
<p:tagLst xmlns:a="http://schemas.openxmlformats.org/drawingml/2006/main" xmlns:r="http://schemas.openxmlformats.org/officeDocument/2006/relationships" xmlns:p="http://schemas.openxmlformats.org/presentationml/2006/main">
  <p:tag name="NAME" val="SingleChevron"/>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NAME" val="DoubleChevron2"/>
</p:tagLst>
</file>

<file path=ppt/tags/tag521.xml><?xml version="1.0" encoding="utf-8"?>
<p:tagLst xmlns:a="http://schemas.openxmlformats.org/drawingml/2006/main" xmlns:r="http://schemas.openxmlformats.org/officeDocument/2006/relationships" xmlns:p="http://schemas.openxmlformats.org/presentationml/2006/main">
  <p:tag name="NAME" val="DoubleChevron"/>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524.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25.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26.xml><?xml version="1.0" encoding="utf-8"?>
<p:tagLst xmlns:a="http://schemas.openxmlformats.org/drawingml/2006/main" xmlns:r="http://schemas.openxmlformats.org/officeDocument/2006/relationships" xmlns:p="http://schemas.openxmlformats.org/presentationml/2006/main">
  <p:tag name="NAME" val="1BoatTopShape"/>
</p:tagLst>
</file>

<file path=ppt/tags/tag527.xml><?xml version="1.0" encoding="utf-8"?>
<p:tagLst xmlns:a="http://schemas.openxmlformats.org/drawingml/2006/main" xmlns:r="http://schemas.openxmlformats.org/officeDocument/2006/relationships" xmlns:p="http://schemas.openxmlformats.org/presentationml/2006/main">
  <p:tag name="NAME" val="1BoatTopText"/>
</p:tagLst>
</file>

<file path=ppt/tags/tag52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29.xml><?xml version="1.0" encoding="utf-8"?>
<p:tagLst xmlns:a="http://schemas.openxmlformats.org/drawingml/2006/main" xmlns:r="http://schemas.openxmlformats.org/officeDocument/2006/relationships" xmlns:p="http://schemas.openxmlformats.org/presentationml/2006/main">
  <p:tag name="NAME" val="1BoatBottomTex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pKmlTOSQO60jxS1ziYVmA"/>
</p:tagLst>
</file>

<file path=ppt/tags/tag530.xml><?xml version="1.0" encoding="utf-8"?>
<p:tagLst xmlns:a="http://schemas.openxmlformats.org/drawingml/2006/main" xmlns:r="http://schemas.openxmlformats.org/officeDocument/2006/relationships" xmlns:p="http://schemas.openxmlformats.org/presentationml/2006/main">
  <p:tag name="NAME" val="Moon"/>
</p:tagLst>
</file>

<file path=ppt/tags/tag531.xml><?xml version="1.0" encoding="utf-8"?>
<p:tagLst xmlns:a="http://schemas.openxmlformats.org/drawingml/2006/main" xmlns:r="http://schemas.openxmlformats.org/officeDocument/2006/relationships" xmlns:p="http://schemas.openxmlformats.org/presentationml/2006/main">
  <p:tag name="NAME" val="Moon"/>
</p:tagLst>
</file>

<file path=ppt/tags/tag532.xml><?xml version="1.0" encoding="utf-8"?>
<p:tagLst xmlns:a="http://schemas.openxmlformats.org/drawingml/2006/main" xmlns:r="http://schemas.openxmlformats.org/officeDocument/2006/relationships" xmlns:p="http://schemas.openxmlformats.org/presentationml/2006/main">
  <p:tag name="NAME" val="Moon"/>
</p:tagLst>
</file>

<file path=ppt/tags/tag533.xml><?xml version="1.0" encoding="utf-8"?>
<p:tagLst xmlns:a="http://schemas.openxmlformats.org/drawingml/2006/main" xmlns:r="http://schemas.openxmlformats.org/officeDocument/2006/relationships" xmlns:p="http://schemas.openxmlformats.org/presentationml/2006/main">
  <p:tag name="NAME" val="Moon"/>
</p:tagLst>
</file>

<file path=ppt/tags/tag534.xml><?xml version="1.0" encoding="utf-8"?>
<p:tagLst xmlns:a="http://schemas.openxmlformats.org/drawingml/2006/main" xmlns:r="http://schemas.openxmlformats.org/officeDocument/2006/relationships" xmlns:p="http://schemas.openxmlformats.org/presentationml/2006/main">
  <p:tag name="NAME" val="Moon"/>
</p:tagLst>
</file>

<file path=ppt/tags/tag5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45.xml><?xml version="1.0" encoding="utf-8"?>
<p:tagLst xmlns:a="http://schemas.openxmlformats.org/drawingml/2006/main" xmlns:r="http://schemas.openxmlformats.org/officeDocument/2006/relationships" xmlns:p="http://schemas.openxmlformats.org/presentationml/2006/main">
  <p:tag name="NAME" val="DoubleChevron"/>
</p:tagLst>
</file>

<file path=ppt/tags/tag546.xml><?xml version="1.0" encoding="utf-8"?>
<p:tagLst xmlns:a="http://schemas.openxmlformats.org/drawingml/2006/main" xmlns:r="http://schemas.openxmlformats.org/officeDocument/2006/relationships" xmlns:p="http://schemas.openxmlformats.org/presentationml/2006/main">
  <p:tag name="NAME" val="DoubleChevron2"/>
</p:tagLst>
</file>

<file path=ppt/tags/tag54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8.xml><?xml version="1.0" encoding="utf-8"?>
<p:tagLst xmlns:a="http://schemas.openxmlformats.org/drawingml/2006/main" xmlns:r="http://schemas.openxmlformats.org/officeDocument/2006/relationships" xmlns:p="http://schemas.openxmlformats.org/presentationml/2006/main">
  <p:tag name="NAME" val="SingleBoatText"/>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59.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rXa.VYdQ6q_1tGfgcvPsg"/>
</p:tagLst>
</file>

<file path=ppt/tags/tag560.xml><?xml version="1.0" encoding="utf-8"?>
<p:tagLst xmlns:a="http://schemas.openxmlformats.org/drawingml/2006/main" xmlns:r="http://schemas.openxmlformats.org/officeDocument/2006/relationships" xmlns:p="http://schemas.openxmlformats.org/presentationml/2006/main">
  <p:tag name="NAME" val="SingleBoat"/>
</p:tagLst>
</file>

<file path=ppt/tags/tag561.xml><?xml version="1.0" encoding="utf-8"?>
<p:tagLst xmlns:a="http://schemas.openxmlformats.org/drawingml/2006/main" xmlns:r="http://schemas.openxmlformats.org/officeDocument/2006/relationships" xmlns:p="http://schemas.openxmlformats.org/presentationml/2006/main">
  <p:tag name="NAME" val="Bracket"/>
</p:tagLst>
</file>

<file path=ppt/tags/tag562.xml><?xml version="1.0" encoding="utf-8"?>
<p:tagLst xmlns:a="http://schemas.openxmlformats.org/drawingml/2006/main" xmlns:r="http://schemas.openxmlformats.org/officeDocument/2006/relationships" xmlns:p="http://schemas.openxmlformats.org/presentationml/2006/main">
  <p:tag name="NAME" val="SingleChevron"/>
</p:tagLst>
</file>

<file path=ppt/tags/tag563.xml><?xml version="1.0" encoding="utf-8"?>
<p:tagLst xmlns:a="http://schemas.openxmlformats.org/drawingml/2006/main" xmlns:r="http://schemas.openxmlformats.org/officeDocument/2006/relationships" xmlns:p="http://schemas.openxmlformats.org/presentationml/2006/main">
  <p:tag name="NAME" val="DoubleChevron2"/>
</p:tagLst>
</file>

<file path=ppt/tags/tag564.xml><?xml version="1.0" encoding="utf-8"?>
<p:tagLst xmlns:a="http://schemas.openxmlformats.org/drawingml/2006/main" xmlns:r="http://schemas.openxmlformats.org/officeDocument/2006/relationships" xmlns:p="http://schemas.openxmlformats.org/presentationml/2006/main">
  <p:tag name="NAME" val="DoubleChevron"/>
</p:tagLst>
</file>

<file path=ppt/tags/tag565.xml><?xml version="1.0" encoding="utf-8"?>
<p:tagLst xmlns:a="http://schemas.openxmlformats.org/drawingml/2006/main" xmlns:r="http://schemas.openxmlformats.org/officeDocument/2006/relationships" xmlns:p="http://schemas.openxmlformats.org/presentationml/2006/main">
  <p:tag name="NAME" val="Moon"/>
</p:tagLst>
</file>

<file path=ppt/tags/tag566.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567.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68.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69.xml><?xml version="1.0" encoding="utf-8"?>
<p:tagLst xmlns:a="http://schemas.openxmlformats.org/drawingml/2006/main" xmlns:r="http://schemas.openxmlformats.org/officeDocument/2006/relationships" xmlns:p="http://schemas.openxmlformats.org/presentationml/2006/main">
  <p:tag name="NAME" val="1BoatTopShap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0.xml><?xml version="1.0" encoding="utf-8"?>
<p:tagLst xmlns:a="http://schemas.openxmlformats.org/drawingml/2006/main" xmlns:r="http://schemas.openxmlformats.org/officeDocument/2006/relationships" xmlns:p="http://schemas.openxmlformats.org/presentationml/2006/main">
  <p:tag name="NAME" val="1BoatTopText"/>
</p:tagLst>
</file>

<file path=ppt/tags/tag57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72.xml><?xml version="1.0" encoding="utf-8"?>
<p:tagLst xmlns:a="http://schemas.openxmlformats.org/drawingml/2006/main" xmlns:r="http://schemas.openxmlformats.org/officeDocument/2006/relationships" xmlns:p="http://schemas.openxmlformats.org/presentationml/2006/main">
  <p:tag name="NAME" val="1BoatBottomText"/>
</p:tagLst>
</file>

<file path=ppt/tags/tag573.xml><?xml version="1.0" encoding="utf-8"?>
<p:tagLst xmlns:a="http://schemas.openxmlformats.org/drawingml/2006/main" xmlns:r="http://schemas.openxmlformats.org/officeDocument/2006/relationships" xmlns:p="http://schemas.openxmlformats.org/presentationml/2006/main">
  <p:tag name="NAME" val="Moon"/>
</p:tagLst>
</file>

<file path=ppt/tags/tag574.xml><?xml version="1.0" encoding="utf-8"?>
<p:tagLst xmlns:a="http://schemas.openxmlformats.org/drawingml/2006/main" xmlns:r="http://schemas.openxmlformats.org/officeDocument/2006/relationships" xmlns:p="http://schemas.openxmlformats.org/presentationml/2006/main">
  <p:tag name="NAME" val="Moon"/>
</p:tagLst>
</file>

<file path=ppt/tags/tag575.xml><?xml version="1.0" encoding="utf-8"?>
<p:tagLst xmlns:a="http://schemas.openxmlformats.org/drawingml/2006/main" xmlns:r="http://schemas.openxmlformats.org/officeDocument/2006/relationships" xmlns:p="http://schemas.openxmlformats.org/presentationml/2006/main">
  <p:tag name="NAME" val="Moon"/>
</p:tagLst>
</file>

<file path=ppt/tags/tag576.xml><?xml version="1.0" encoding="utf-8"?>
<p:tagLst xmlns:a="http://schemas.openxmlformats.org/drawingml/2006/main" xmlns:r="http://schemas.openxmlformats.org/officeDocument/2006/relationships" xmlns:p="http://schemas.openxmlformats.org/presentationml/2006/main">
  <p:tag name="NAME" val="Moon"/>
</p:tagLst>
</file>

<file path=ppt/tags/tag577.xml><?xml version="1.0" encoding="utf-8"?>
<p:tagLst xmlns:a="http://schemas.openxmlformats.org/drawingml/2006/main" xmlns:r="http://schemas.openxmlformats.org/officeDocument/2006/relationships" xmlns:p="http://schemas.openxmlformats.org/presentationml/2006/main">
  <p:tag name="NAME" val="Moon"/>
</p:tagLst>
</file>

<file path=ppt/tags/tag57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8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8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8.xml><?xml version="1.0" encoding="utf-8"?>
<p:tagLst xmlns:a="http://schemas.openxmlformats.org/drawingml/2006/main" xmlns:r="http://schemas.openxmlformats.org/officeDocument/2006/relationships" xmlns:p="http://schemas.openxmlformats.org/presentationml/2006/main">
  <p:tag name="NAME" val="DoubleChevron"/>
</p:tagLst>
</file>

<file path=ppt/tags/tag589.xml><?xml version="1.0" encoding="utf-8"?>
<p:tagLst xmlns:a="http://schemas.openxmlformats.org/drawingml/2006/main" xmlns:r="http://schemas.openxmlformats.org/officeDocument/2006/relationships" xmlns:p="http://schemas.openxmlformats.org/presentationml/2006/main">
  <p:tag name="NAME" val="DoubleChevron2"/>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elhLRhhRTygm_5.Y8IKjw"/>
</p:tagLst>
</file>

<file path=ppt/tags/tag5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91.xml><?xml version="1.0" encoding="utf-8"?>
<p:tagLst xmlns:a="http://schemas.openxmlformats.org/drawingml/2006/main" xmlns:r="http://schemas.openxmlformats.org/officeDocument/2006/relationships" xmlns:p="http://schemas.openxmlformats.org/presentationml/2006/main">
  <p:tag name="NAME" val="SingleBoatText"/>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AzoMydtSgFos7l78lxWpi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AzoMydtSgFos7l78lxWpi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14.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615.xml><?xml version="1.0" encoding="utf-8"?>
<p:tagLst xmlns:a="http://schemas.openxmlformats.org/drawingml/2006/main" xmlns:r="http://schemas.openxmlformats.org/officeDocument/2006/relationships" xmlns:p="http://schemas.openxmlformats.org/presentationml/2006/main">
  <p:tag name="NAME" val="SingleBoat"/>
</p:tagLst>
</file>

<file path=ppt/tags/tag616.xml><?xml version="1.0" encoding="utf-8"?>
<p:tagLst xmlns:a="http://schemas.openxmlformats.org/drawingml/2006/main" xmlns:r="http://schemas.openxmlformats.org/officeDocument/2006/relationships" xmlns:p="http://schemas.openxmlformats.org/presentationml/2006/main">
  <p:tag name="NAME" val="Bracket"/>
</p:tagLst>
</file>

<file path=ppt/tags/tag617.xml><?xml version="1.0" encoding="utf-8"?>
<p:tagLst xmlns:a="http://schemas.openxmlformats.org/drawingml/2006/main" xmlns:r="http://schemas.openxmlformats.org/officeDocument/2006/relationships" xmlns:p="http://schemas.openxmlformats.org/presentationml/2006/main">
  <p:tag name="NAME" val="SingleChevron"/>
</p:tagLst>
</file>

<file path=ppt/tags/tag618.xml><?xml version="1.0" encoding="utf-8"?>
<p:tagLst xmlns:a="http://schemas.openxmlformats.org/drawingml/2006/main" xmlns:r="http://schemas.openxmlformats.org/officeDocument/2006/relationships" xmlns:p="http://schemas.openxmlformats.org/presentationml/2006/main">
  <p:tag name="NAME" val="DoubleChevron2"/>
</p:tagLst>
</file>

<file path=ppt/tags/tag619.xml><?xml version="1.0" encoding="utf-8"?>
<p:tagLst xmlns:a="http://schemas.openxmlformats.org/drawingml/2006/main" xmlns:r="http://schemas.openxmlformats.org/officeDocument/2006/relationships" xmlns:p="http://schemas.openxmlformats.org/presentationml/2006/main">
  <p:tag name="NAME" val="DoubleChevron"/>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EHf.fVuQQuT5Jlq18SMgg"/>
</p:tagLst>
</file>

<file path=ppt/tags/tag620.xml><?xml version="1.0" encoding="utf-8"?>
<p:tagLst xmlns:a="http://schemas.openxmlformats.org/drawingml/2006/main" xmlns:r="http://schemas.openxmlformats.org/officeDocument/2006/relationships" xmlns:p="http://schemas.openxmlformats.org/presentationml/2006/main">
  <p:tag name="NAME" val="Moon"/>
</p:tagLst>
</file>

<file path=ppt/tags/tag621.xml><?xml version="1.0" encoding="utf-8"?>
<p:tagLst xmlns:a="http://schemas.openxmlformats.org/drawingml/2006/main" xmlns:r="http://schemas.openxmlformats.org/officeDocument/2006/relationships" xmlns:p="http://schemas.openxmlformats.org/presentationml/2006/main">
  <p:tag name="ISFLAT" val="True"/>
  <p:tag name="NAME" val="SplitFlow"/>
</p:tagLst>
</file>

<file path=ppt/tags/tag62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623.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624.xml><?xml version="1.0" encoding="utf-8"?>
<p:tagLst xmlns:a="http://schemas.openxmlformats.org/drawingml/2006/main" xmlns:r="http://schemas.openxmlformats.org/officeDocument/2006/relationships" xmlns:p="http://schemas.openxmlformats.org/presentationml/2006/main">
  <p:tag name="NAME" val="1BoatTopShape"/>
</p:tagLst>
</file>

<file path=ppt/tags/tag625.xml><?xml version="1.0" encoding="utf-8"?>
<p:tagLst xmlns:a="http://schemas.openxmlformats.org/drawingml/2006/main" xmlns:r="http://schemas.openxmlformats.org/officeDocument/2006/relationships" xmlns:p="http://schemas.openxmlformats.org/presentationml/2006/main">
  <p:tag name="NAME" val="1BoatTopText"/>
</p:tagLst>
</file>

<file path=ppt/tags/tag62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627.xml><?xml version="1.0" encoding="utf-8"?>
<p:tagLst xmlns:a="http://schemas.openxmlformats.org/drawingml/2006/main" xmlns:r="http://schemas.openxmlformats.org/officeDocument/2006/relationships" xmlns:p="http://schemas.openxmlformats.org/presentationml/2006/main">
  <p:tag name="NAME" val="1BoatBottomText"/>
</p:tagLst>
</file>

<file path=ppt/tags/tag628.xml><?xml version="1.0" encoding="utf-8"?>
<p:tagLst xmlns:a="http://schemas.openxmlformats.org/drawingml/2006/main" xmlns:r="http://schemas.openxmlformats.org/officeDocument/2006/relationships" xmlns:p="http://schemas.openxmlformats.org/presentationml/2006/main">
  <p:tag name="NAME" val="Moon"/>
</p:tagLst>
</file>

<file path=ppt/tags/tag629.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0.xml><?xml version="1.0" encoding="utf-8"?>
<p:tagLst xmlns:a="http://schemas.openxmlformats.org/drawingml/2006/main" xmlns:r="http://schemas.openxmlformats.org/officeDocument/2006/relationships" xmlns:p="http://schemas.openxmlformats.org/presentationml/2006/main">
  <p:tag name="NAME" val="Moon"/>
</p:tagLst>
</file>

<file path=ppt/tags/tag631.xml><?xml version="1.0" encoding="utf-8"?>
<p:tagLst xmlns:a="http://schemas.openxmlformats.org/drawingml/2006/main" xmlns:r="http://schemas.openxmlformats.org/officeDocument/2006/relationships" xmlns:p="http://schemas.openxmlformats.org/presentationml/2006/main">
  <p:tag name="NAME" val="Moon"/>
</p:tagLst>
</file>

<file path=ppt/tags/tag632.xml><?xml version="1.0" encoding="utf-8"?>
<p:tagLst xmlns:a="http://schemas.openxmlformats.org/drawingml/2006/main" xmlns:r="http://schemas.openxmlformats.org/officeDocument/2006/relationships" xmlns:p="http://schemas.openxmlformats.org/presentationml/2006/main">
  <p:tag name="NAME" val="Moon"/>
</p:tagLst>
</file>

<file path=ppt/tags/tag6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3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3.xml><?xml version="1.0" encoding="utf-8"?>
<p:tagLst xmlns:a="http://schemas.openxmlformats.org/drawingml/2006/main" xmlns:r="http://schemas.openxmlformats.org/officeDocument/2006/relationships" xmlns:p="http://schemas.openxmlformats.org/presentationml/2006/main">
  <p:tag name="NAME" val="DoubleChevron"/>
</p:tagLst>
</file>

<file path=ppt/tags/tag644.xml><?xml version="1.0" encoding="utf-8"?>
<p:tagLst xmlns:a="http://schemas.openxmlformats.org/drawingml/2006/main" xmlns:r="http://schemas.openxmlformats.org/officeDocument/2006/relationships" xmlns:p="http://schemas.openxmlformats.org/presentationml/2006/main">
  <p:tag name="NAME" val="DoubleChevron2"/>
</p:tagLst>
</file>

<file path=ppt/tags/tag64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46.xml><?xml version="1.0" encoding="utf-8"?>
<p:tagLst xmlns:a="http://schemas.openxmlformats.org/drawingml/2006/main" xmlns:r="http://schemas.openxmlformats.org/officeDocument/2006/relationships" xmlns:p="http://schemas.openxmlformats.org/presentationml/2006/main">
  <p:tag name="NAME" val="SingleBoatText"/>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fTkeKYXyaWtGYl8oeREEk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bkk5YwMS_a2NC4JeWRYU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Fp2EmPrA0qkrvaO5t4BC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qowcI9rN5vhS.x7c3m8V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RAOoR6jNq9m9Jf34.zGRN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gXId.xxHsm7KdAP2k3nez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cLjHeTScCltyuDHiZkYh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fY33zrqMfldUbmvVlnr.l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U4PeRKLQqMJQQEQtiXi1i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S1PXUJ3ew5robJ5PkzRN_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y1KRH1.S3lw1kth2WmCx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dCldoYq2q9lJL1CCHbwCN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xtln5pOu0Gb25MOinSi7k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iEJkUAByoe1ybgJqSV_zQ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FqlrVW7eI36zyeXiMfNp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66THzinh11Wc9TebClnw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q0MsYGOTVuAZQTjndEoH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ZB17t9hlMjPwhuFpGjbc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VbGTIkOMTpdjwT_FbeBv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glUPWUz2xg6LlQdt7LoCj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BphMyzNnIguCdQ20nmIL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F_G1vtTYOCOAHcbO1NeT2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ScS8rbQuCabjh0YzRxMT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Nh.rpBxxMvTJ4jocVhqyu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EId3hrIwYKQg60JIAXoyI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O6F2gaMDeZASKs3q0AmI7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p02IO964ByjhdaDRefZTH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b.uvXzLpmyonlfZO8MhG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VtL8j1d7DBZUAwp3tLI1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jxJUJ7GwQDQPViRoiUqA_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tegLCrckcHKlplV8vJ1_z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DDJv0DTH457U35lejtv70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vl8hcBR6Wh08dVNi7aNw6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7okn1Qi2rTwWUFjFbpWA0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wLoI.gkT7CTTjZzwdoWe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bTonBbXGdoa0D.Duw9tZC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Yl_IS4xSxcSHYw723T2xj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6k.wC03Yk8BedHQ4jdR7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0h6ENu5l_yfn32teJJ89D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ePfCJ0oo5Hai3xSrH1iGO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U1wUISqK6Ud4t96Nrar84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sBhNMog.Y9oWZ2_pLIluf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djVRQYHr.OwlB_3Yx.gQd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T3TsjM09a0qWVQpguUMeG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pq7HQAku.Ijs2zclWdKnD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KGjVjdq39eA0ZShRCgjRv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pE2NQ4TXLkaCN4aI6usG8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K_wxXJBZH72w6Wg6VbFhn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58KtiGoXOLqtO31txnubB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CmJTfjkmN7Do.ky9kyI5A"/>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7Tvr7enRwiNrTUD.7Wi0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ZImi8zSQsuxzilDaMY0.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s2P52moR8KzVXtTtQgCfQ"/>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7Av8xnSHGbGbgPqosyyw"/>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6qN1V0n_R2iAZIXJ9O0mzA"/>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iH3FaDwQRGoD5U85KHZ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e7wC84KRFSh4R6yc.f3bg"/>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ECDC_PowerPoint_Template_2017">
  <a:themeElements>
    <a:clrScheme name="Custom 1">
      <a:dk1>
        <a:sysClr val="windowText" lastClr="000000"/>
      </a:dk1>
      <a:lt1>
        <a:sysClr val="window" lastClr="FFFFFF"/>
      </a:lt1>
      <a:dk2>
        <a:srgbClr val="1F497D"/>
      </a:dk2>
      <a:lt2>
        <a:srgbClr val="EEECE1"/>
      </a:lt2>
      <a:accent1>
        <a:srgbClr val="69AE23"/>
      </a:accent1>
      <a:accent2>
        <a:srgbClr val="7CBDC1"/>
      </a:accent2>
      <a:accent3>
        <a:srgbClr val="9D8C57"/>
      </a:accent3>
      <a:accent4>
        <a:srgbClr val="BDCD00"/>
      </a:accent4>
      <a:accent5>
        <a:srgbClr val="0081B7"/>
      </a:accent5>
      <a:accent6>
        <a:srgbClr val="D6A026"/>
      </a:accent6>
      <a:hlink>
        <a:srgbClr val="000000"/>
      </a:hlink>
      <a:folHlink>
        <a:srgbClr val="000000"/>
      </a:folHlink>
    </a:clrScheme>
    <a:fontScheme name="ECDC_Tahom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ECDC_PowerPoint_Template_2009_rev_1_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CDC_PowerPoint_Template_2009_rev_1_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CDC_PowerPoint_Template_2009_rev_1_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CDC_PowerPoint_Template_2009_rev_1_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CDC_PowerPoint_Template_2009_rev_1_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CDC_PowerPoint_Template_2009_rev_1_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CDC_PowerPoint_Template_2009_rev_1_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CDC_PowerPoint_Template_2009_rev_1_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CDC_PowerPoint_Template_2009_rev_1_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CDC_PowerPoint_Template_2009_rev_1_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CDC_PowerPoint_Template_2009_rev_1_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CDC_PowerPoint_Template_2009_rev_1_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E7F6E69A-E17B-4CE5-A99E-477FC96C55C2}" vid="{A604A499-AD39-4436-83D0-FC2BBC58E31E}"/>
    </a:ext>
  </a:extLst>
</a:theme>
</file>

<file path=ppt/theme/theme10.xml><?xml version="1.0" encoding="utf-8"?>
<a:theme xmlns:a="http://schemas.openxmlformats.org/drawingml/2006/main" name="1_EN_GV0278_16x9_CF2">
  <a:themeElements>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lIns="73152" tIns="73152" rIns="73152" bIns="73152"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latin typeface="+mn-lt"/>
          </a:defRPr>
        </a:defPPr>
      </a:lstStyle>
    </a:txDef>
  </a:objectDefaults>
  <a:extraClrSchemeLst>
    <a:extraClrScheme>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clrMap bg1="lt1" tx1="dk1" bg2="lt2" tx2="dk2" accent1="accent1" accent2="accent2" accent3="accent3" accent4="accent4" accent5="accent5" accent6="accent6" hlink="hlink" folHlink="folHlink"/>
    </a:extraClrScheme>
  </a:extraClrSchemeLst>
  <a:custClrLst>
    <a:custClr name="Teal">
      <a:srgbClr val="57FF7D"/>
    </a:custClr>
    <a:custClr name="WHO Blue">
      <a:srgbClr val="1ABFFF"/>
    </a:custClr>
    <a:custClr name="Lilac">
      <a:srgbClr val="664DFF"/>
    </a:custClr>
    <a:custClr name="Dark Blue">
      <a:srgbClr val="0D40FF"/>
    </a:custClr>
  </a:custClrLst>
  <a:extLst>
    <a:ext uri="{05A4C25C-085E-4340-85A3-A5531E510DB2}">
      <thm15:themeFamily xmlns:thm15="http://schemas.microsoft.com/office/thememl/2012/main" name="EN_GV0278_16x9_CF2.potx" id="{79A6A227-63B2-4EBD-B583-EF5260737FE8}" vid="{E4F2A5CB-6402-43A5-8DD4-9A0BD7F9BA41}"/>
    </a:ext>
  </a:extLst>
</a:theme>
</file>

<file path=ppt/theme/theme11.xml><?xml version="1.0" encoding="utf-8"?>
<a:theme xmlns:a="http://schemas.openxmlformats.org/drawingml/2006/main" name="*FIND template*">
  <a:themeElements>
    <a:clrScheme name="*FIND template*">
      <a:dk1>
        <a:srgbClr val="000000"/>
      </a:dk1>
      <a:lt1>
        <a:srgbClr val="FFFFFF"/>
      </a:lt1>
      <a:dk2>
        <a:srgbClr val="43ABB6"/>
      </a:dk2>
      <a:lt2>
        <a:srgbClr val="8C9EAB"/>
      </a:lt2>
      <a:accent1>
        <a:srgbClr val="5A2259"/>
      </a:accent1>
      <a:accent2>
        <a:srgbClr val="43ABB6"/>
      </a:accent2>
      <a:accent3>
        <a:srgbClr val="D3553F"/>
      </a:accent3>
      <a:accent4>
        <a:srgbClr val="8C9EAB"/>
      </a:accent4>
      <a:accent5>
        <a:srgbClr val="B785B7"/>
      </a:accent5>
      <a:accent6>
        <a:srgbClr val="4C5B68"/>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blank.potx" id="{AB4EB1FF-5992-4542-87C8-4624D2AD5E3A}" vid="{86B8886F-6CF6-40DE-BCD3-1A25D72C45F6}"/>
    </a:ext>
  </a:extLst>
</a:theme>
</file>

<file path=ppt/theme/theme12.xml><?xml version="1.0" encoding="utf-8"?>
<a:theme xmlns:a="http://schemas.openxmlformats.org/drawingml/2006/main" name="1_*FIND template*">
  <a:themeElements>
    <a:clrScheme name="*FIND template*">
      <a:dk1>
        <a:srgbClr val="000000"/>
      </a:dk1>
      <a:lt1>
        <a:srgbClr val="FFFFFF"/>
      </a:lt1>
      <a:dk2>
        <a:srgbClr val="43ABB6"/>
      </a:dk2>
      <a:lt2>
        <a:srgbClr val="8C9EAB"/>
      </a:lt2>
      <a:accent1>
        <a:srgbClr val="5A2259"/>
      </a:accent1>
      <a:accent2>
        <a:srgbClr val="43ABB6"/>
      </a:accent2>
      <a:accent3>
        <a:srgbClr val="D3553F"/>
      </a:accent3>
      <a:accent4>
        <a:srgbClr val="8C9EAB"/>
      </a:accent4>
      <a:accent5>
        <a:srgbClr val="B785B7"/>
      </a:accent5>
      <a:accent6>
        <a:srgbClr val="4C5B68"/>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blank.potx" id="{AB4EB1FF-5992-4542-87C8-4624D2AD5E3A}" vid="{86B8886F-6CF6-40DE-BCD3-1A25D72C45F6}"/>
    </a:ext>
  </a:extLst>
</a:theme>
</file>

<file path=ppt/theme/theme13.xml><?xml version="1.0" encoding="utf-8"?>
<a:theme xmlns:a="http://schemas.openxmlformats.org/drawingml/2006/main" name="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FoHM Sve 2018">
  <a:themeElements>
    <a:clrScheme name="FoHM 2018">
      <a:dk1>
        <a:sysClr val="windowText" lastClr="000000"/>
      </a:dk1>
      <a:lt1>
        <a:sysClr val="window" lastClr="FFFFFF"/>
      </a:lt1>
      <a:dk2>
        <a:srgbClr val="A2A2A2"/>
      </a:dk2>
      <a:lt2>
        <a:srgbClr val="D8D8D8"/>
      </a:lt2>
      <a:accent1>
        <a:srgbClr val="E30613"/>
      </a:accent1>
      <a:accent2>
        <a:srgbClr val="951B81"/>
      </a:accent2>
      <a:accent3>
        <a:srgbClr val="009FE3"/>
      </a:accent3>
      <a:accent4>
        <a:srgbClr val="E6007E"/>
      </a:accent4>
      <a:accent5>
        <a:srgbClr val="95C11F"/>
      </a:accent5>
      <a:accent6>
        <a:srgbClr val="FF6600"/>
      </a:accent6>
      <a:hlink>
        <a:srgbClr val="005C9A"/>
      </a:hlink>
      <a:folHlink>
        <a:srgbClr val="005C9A"/>
      </a:folHlink>
    </a:clrScheme>
    <a:fontScheme name="FoHM 2018">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70000" indent="-270000">
          <a:lnSpc>
            <a:spcPts val="2500"/>
          </a:lnSpc>
          <a:spcBef>
            <a:spcPts val="1200"/>
          </a:spcBef>
          <a:spcAft>
            <a:spcPts val="300"/>
          </a:spcAft>
          <a:buFont typeface="Arial" panose="020B0604020202020204" pitchFamily="34" charset="0"/>
          <a:buChar char="•"/>
          <a:defRPr sz="2000" dirty="0" smtClean="0"/>
        </a:defPPr>
      </a:lstStyle>
    </a:txDef>
  </a:objectDefaults>
  <a:extraClrSchemeLst/>
  <a:custClrLst>
    <a:custClr name="Dekor 1 100%">
      <a:srgbClr val="E30613"/>
    </a:custClr>
    <a:custClr name="Dekor 1 60%">
      <a:srgbClr val="EE6A71"/>
    </a:custClr>
    <a:custClr name="Dekor 1 30%">
      <a:srgbClr val="F7B4B8"/>
    </a:custClr>
    <a:custClr name="Dekor 2 100%">
      <a:srgbClr val="951B81"/>
    </a:custClr>
    <a:custClr name="Dekor 2 60%">
      <a:srgbClr val="BF76B3"/>
    </a:custClr>
    <a:custClr name="Dekor 2 30%">
      <a:srgbClr val="DFBAD9"/>
    </a:custClr>
    <a:custClr name="Dekor 3 100%">
      <a:srgbClr val="009FE3"/>
    </a:custClr>
    <a:custClr name="Dekor 3 60%">
      <a:srgbClr val="66C5EE"/>
    </a:custClr>
    <a:custClr name="Dekor 3 30%">
      <a:srgbClr val="B2E2F7"/>
    </a:custClr>
    <a:custClr name="Dekor 4 100%">
      <a:srgbClr val="E6007E"/>
    </a:custClr>
    <a:custClr name="Dekor 4 60%">
      <a:srgbClr val="F066B2"/>
    </a:custClr>
    <a:custClr name="Dekor 4 30%">
      <a:srgbClr val="F7B2D8"/>
    </a:custClr>
    <a:custClr name="Dekor 5 100%">
      <a:srgbClr val="95C11F"/>
    </a:custClr>
    <a:custClr name="Dekor 5 60%">
      <a:srgbClr val="BFDA79"/>
    </a:custClr>
    <a:custClr name="Dekor 5 30%">
      <a:srgbClr val="DFECBB"/>
    </a:custClr>
    <a:custClr name="Orange 100%">
      <a:srgbClr val="FF6600"/>
    </a:custClr>
    <a:custClr name="Orange 60%">
      <a:srgbClr val="FFA466"/>
    </a:custClr>
    <a:custClr name="Orange 30%">
      <a:srgbClr val="FFD1B2"/>
    </a:custClr>
    <a:custClr name="Grön">
      <a:srgbClr val="009284"/>
    </a:custClr>
    <a:custClr name="Blå">
      <a:srgbClr val="0065AC"/>
    </a:custClr>
    <a:custClr name="Gul">
      <a:srgbClr val="F1C300"/>
    </a:custClr>
  </a:custClrLst>
  <a:extLst>
    <a:ext uri="{05A4C25C-085E-4340-85A3-A5531E510DB2}">
      <thm15:themeFamily xmlns:thm15="http://schemas.microsoft.com/office/thememl/2012/main" name="PPT (eng).potx" id="{E31EF64B-31AE-4C6B-A153-0A6BEB1F362B}" vid="{14F8BA1A-CAEF-4040-BC59-8C9E74DBA24E}"/>
    </a:ext>
  </a:extLst>
</a:theme>
</file>

<file path=ppt/theme/theme15.xml><?xml version="1.0" encoding="utf-8"?>
<a:theme xmlns:a="http://schemas.openxmlformats.org/drawingml/2006/main" name="WHO Grid 16:9 - 13384">
  <a:themeElements>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E7FB8"/>
        </a:solidFill>
        <a:ln w="9525">
          <a:solidFill>
            <a:srgbClr val="1E7FB8"/>
          </a:solidFill>
        </a:ln>
      </a:spPr>
      <a:bodyPr lIns="73152" tIns="73152" rIns="73152" bIns="73152"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A9A9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solidFill>
              <a:srgbClr val="575757"/>
            </a:solidFill>
            <a:latin typeface="+mn-lt"/>
          </a:defRPr>
        </a:defPPr>
      </a:lstStyle>
    </a:txDef>
  </a:objectDefaults>
  <a:extraClrSchemeLst>
    <a:extraClrScheme>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clrMap bg1="lt1" tx1="dk1" bg2="lt2" tx2="dk2" accent1="accent1" accent2="accent2" accent3="accent3" accent4="accent4" accent5="accent5" accent6="accent6" hlink="hlink" folHlink="folHlink"/>
    </a:extraClrScheme>
  </a:extraClrSchemeLst>
  <a:custClrLst>
    <a:custClr name="Teal">
      <a:srgbClr val="57FF7D"/>
    </a:custClr>
    <a:custClr name="WHO Blue">
      <a:srgbClr val="1ABFFF"/>
    </a:custClr>
    <a:custClr name="Lilac">
      <a:srgbClr val="664DFF"/>
    </a:custClr>
    <a:custClr name="Dark Blue">
      <a:srgbClr val="0D40FF"/>
    </a:custClr>
  </a:custClrLst>
  <a:extLst>
    <a:ext uri="{05A4C25C-085E-4340-85A3-A5531E510DB2}">
      <thm15:themeFamily xmlns:thm15="http://schemas.microsoft.com/office/thememl/2012/main" name="EN_GV0278_16x9_CF2.potx" id="{79A6A227-63B2-4EBD-B583-EF5260737FE8}" vid="{E4F2A5CB-6402-43A5-8DD4-9A0BD7F9BA41}"/>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Специальное оформление">
  <a:themeElements>
    <a:clrScheme name="PHC">
      <a:dk1>
        <a:srgbClr val="004188"/>
      </a:dk1>
      <a:lt1>
        <a:sysClr val="window" lastClr="FFFFFF"/>
      </a:lt1>
      <a:dk2>
        <a:srgbClr val="17355F"/>
      </a:dk2>
      <a:lt2>
        <a:srgbClr val="FFFFFF"/>
      </a:lt2>
      <a:accent1>
        <a:srgbClr val="004188"/>
      </a:accent1>
      <a:accent2>
        <a:srgbClr val="F29100"/>
      </a:accent2>
      <a:accent3>
        <a:srgbClr val="33B6B1"/>
      </a:accent3>
      <a:accent4>
        <a:srgbClr val="0076BE"/>
      </a:accent4>
      <a:accent5>
        <a:srgbClr val="00A8E2"/>
      </a:accent5>
      <a:accent6>
        <a:srgbClr val="FFCD1A"/>
      </a:accent6>
      <a:hlink>
        <a:srgbClr val="54C2E4"/>
      </a:hlink>
      <a:folHlink>
        <a:srgbClr val="EA4E3C"/>
      </a:folHlink>
    </a:clrScheme>
    <a:fontScheme name="PHC">
      <a:majorFont>
        <a:latin typeface="Museo Sans Cyrl 900"/>
        <a:ea typeface=""/>
        <a:cs typeface=""/>
      </a:majorFont>
      <a:minorFont>
        <a:latin typeface="Museo Sans Cyrl 500"/>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FIND 2017 - 07-2017">
  <a:themeElements>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blank.potx" id="{AB4EB1FF-5992-4542-87C8-4624D2AD5E3A}" vid="{86B8886F-6CF6-40DE-BCD3-1A25D72C45F6}"/>
    </a:ext>
  </a:extLst>
</a:theme>
</file>

<file path=ppt/theme/theme4.xml><?xml version="1.0" encoding="utf-8"?>
<a:theme xmlns:a="http://schemas.openxmlformats.org/drawingml/2006/main" name="Theme3">
  <a:themeElements>
    <a:clrScheme name="FIND 2019">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Find 2019">
      <a:majorFont>
        <a:latin typeface="Franklin Gothic Medium"/>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cap="rnd" cmpd="sng" algn="ctr">
          <a:solidFill>
            <a:schemeClr val="accent6"/>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43ABB6"/>
    </a:custClr>
    <a:custClr name="Custom Color">
      <a:srgbClr val="FFFFFF"/>
    </a:custClr>
    <a:custClr name="Custom Color">
      <a:srgbClr val="000000"/>
    </a:custClr>
    <a:custClr name="Custom Color">
      <a:srgbClr val="D3F4F7"/>
    </a:custClr>
    <a:custClr name="Custom Color">
      <a:srgbClr val="8ED5DC"/>
    </a:custClr>
    <a:custClr name="Custom Color">
      <a:srgbClr val="307C84"/>
    </a:custClr>
    <a:custClr name="Custom Color">
      <a:srgbClr val="EEF1F2"/>
    </a:custClr>
    <a:custClr name="Custom Color">
      <a:srgbClr val="C5CED5"/>
    </a:custClr>
    <a:custClr name="Custom Color">
      <a:srgbClr val="8C9EAB"/>
    </a:custClr>
    <a:custClr name="Custom Color">
      <a:srgbClr val="4C5B68"/>
    </a:custClr>
    <a:custClr name="Custom Color">
      <a:srgbClr val="F2D6F2"/>
    </a:custClr>
    <a:custClr name="Custom Color">
      <a:srgbClr val="B785B7"/>
    </a:custClr>
    <a:custClr name="Custom Color">
      <a:srgbClr val="8B518B"/>
    </a:custClr>
    <a:custClr name="Custom Color">
      <a:srgbClr val="5A2259"/>
    </a:custClr>
    <a:custClr name="Custom Color">
      <a:srgbClr val="FFE6AF"/>
    </a:custClr>
    <a:custClr name="Custom Color">
      <a:srgbClr val="FDC569"/>
    </a:custClr>
    <a:custClr name="Custom Color">
      <a:srgbClr val="F79646"/>
    </a:custClr>
    <a:custClr name="Custom Color">
      <a:srgbClr val="D3553F"/>
    </a:custClr>
    <a:custClr name="Custom Color">
      <a:srgbClr val="DEEFCD"/>
    </a:custClr>
    <a:custClr name="Custom Color">
      <a:srgbClr val="A3C87E"/>
    </a:custClr>
    <a:custClr name="Custom Color">
      <a:srgbClr val="669735"/>
    </a:custClr>
    <a:custClr name="Custom Color">
      <a:srgbClr val="3B680E"/>
    </a:custClr>
    <a:custClr name="Custom Color">
      <a:srgbClr val="D8E7F8"/>
    </a:custClr>
    <a:custClr name="Custom Color">
      <a:srgbClr val="95BADF"/>
    </a:custClr>
    <a:custClr name="Custom Color">
      <a:srgbClr val="4580BB"/>
    </a:custClr>
    <a:custClr name="Custom Color">
      <a:srgbClr val="2F5E8D"/>
    </a:custClr>
    <a:custClr name="Custom Color">
      <a:srgbClr val="F0DCC8"/>
    </a:custClr>
    <a:custClr name="Custom Color">
      <a:srgbClr val="C89D72"/>
    </a:custClr>
    <a:custClr name="Custom Color">
      <a:srgbClr val="8F6235"/>
    </a:custClr>
    <a:custClr name="Custom Color">
      <a:srgbClr val="5F3913"/>
    </a:custClr>
    <a:custClr name="Custom Color">
      <a:srgbClr val="FEEC00"/>
    </a:custClr>
    <a:custClr name="Custom Color">
      <a:srgbClr val="DC6E00"/>
    </a:custClr>
    <a:custClr name="Custom Color">
      <a:srgbClr val="FF0000"/>
    </a:custClr>
    <a:custClr name="Custom Color">
      <a:srgbClr val="C41300"/>
    </a:custClr>
    <a:custClr name="Custom Color">
      <a:srgbClr val="06C245"/>
    </a:custClr>
    <a:custClr name="Custom Color">
      <a:srgbClr val="008FC8"/>
    </a:custClr>
    <a:custClr name="Custom Color">
      <a:srgbClr val="CC0099"/>
    </a:custClr>
  </a:custClrLst>
  <a:extLst>
    <a:ext uri="{05A4C25C-085E-4340-85A3-A5531E510DB2}">
      <thm15:themeFamily xmlns:thm15="http://schemas.microsoft.com/office/thememl/2012/main" name="Theme3" id="{E3002E7B-6EE3-4BCB-91EB-B40B02991C2D}" vid="{7D056E85-7A18-425D-BD11-27DD8688A993}"/>
    </a:ext>
  </a:extLst>
</a:theme>
</file>

<file path=ppt/theme/theme5.xml><?xml version="1.0" encoding="utf-8"?>
<a:theme xmlns:a="http://schemas.openxmlformats.org/drawingml/2006/main" name="1_Theme1">
  <a:themeElements>
    <a:clrScheme name="Custom 2">
      <a:dk1>
        <a:srgbClr val="575757"/>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Find 2019">
      <a:majorFont>
        <a:latin typeface="Franklin Gothic Medium"/>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cap="rnd" cmpd="sng" algn="ctr">
          <a:solidFill>
            <a:schemeClr val="accent6"/>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sz="1400"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43ABB6"/>
    </a:custClr>
    <a:custClr name="Custom Color">
      <a:srgbClr val="FFFFFF"/>
    </a:custClr>
    <a:custClr name="Custom Color">
      <a:srgbClr val="000000"/>
    </a:custClr>
    <a:custClr name="Custom Color">
      <a:srgbClr val="D3F4F7"/>
    </a:custClr>
    <a:custClr name="Custom Color">
      <a:srgbClr val="8ED5DC"/>
    </a:custClr>
    <a:custClr name="Custom Color">
      <a:srgbClr val="307C84"/>
    </a:custClr>
    <a:custClr name="Custom Color">
      <a:srgbClr val="EEF1F2"/>
    </a:custClr>
    <a:custClr name="Custom Color">
      <a:srgbClr val="C5CED5"/>
    </a:custClr>
    <a:custClr name="Custom Color">
      <a:srgbClr val="8C9EAB"/>
    </a:custClr>
    <a:custClr name="Custom Color">
      <a:srgbClr val="4C5B68"/>
    </a:custClr>
    <a:custClr name="Custom Color">
      <a:srgbClr val="F2D6F2"/>
    </a:custClr>
    <a:custClr name="Custom Color">
      <a:srgbClr val="B785B7"/>
    </a:custClr>
    <a:custClr name="Custom Color">
      <a:srgbClr val="8B518B"/>
    </a:custClr>
    <a:custClr name="Custom Color">
      <a:srgbClr val="5A2259"/>
    </a:custClr>
    <a:custClr name="Custom Color">
      <a:srgbClr val="FFE6AF"/>
    </a:custClr>
    <a:custClr name="Custom Color">
      <a:srgbClr val="FDC569"/>
    </a:custClr>
    <a:custClr name="Custom Color">
      <a:srgbClr val="F79646"/>
    </a:custClr>
    <a:custClr name="Custom Color">
      <a:srgbClr val="D3553F"/>
    </a:custClr>
    <a:custClr name="Custom Color">
      <a:srgbClr val="DEEFCD"/>
    </a:custClr>
    <a:custClr name="Custom Color">
      <a:srgbClr val="A3C87E"/>
    </a:custClr>
    <a:custClr name="Custom Color">
      <a:srgbClr val="669735"/>
    </a:custClr>
    <a:custClr name="Custom Color">
      <a:srgbClr val="3B680E"/>
    </a:custClr>
    <a:custClr name="Custom Color">
      <a:srgbClr val="D8E7F8"/>
    </a:custClr>
    <a:custClr name="Custom Color">
      <a:srgbClr val="95BADF"/>
    </a:custClr>
    <a:custClr name="Custom Color">
      <a:srgbClr val="4580BB"/>
    </a:custClr>
    <a:custClr name="Custom Color">
      <a:srgbClr val="2F5E8D"/>
    </a:custClr>
    <a:custClr name="Custom Color">
      <a:srgbClr val="F0DCC8"/>
    </a:custClr>
    <a:custClr name="Custom Color">
      <a:srgbClr val="C89D72"/>
    </a:custClr>
    <a:custClr name="Custom Color">
      <a:srgbClr val="8F6235"/>
    </a:custClr>
    <a:custClr name="Custom Color">
      <a:srgbClr val="5F3913"/>
    </a:custClr>
    <a:custClr name="Custom Color">
      <a:srgbClr val="FEEC00"/>
    </a:custClr>
    <a:custClr name="Custom Color">
      <a:srgbClr val="DC6E00"/>
    </a:custClr>
    <a:custClr name="Custom Color">
      <a:srgbClr val="FF0000"/>
    </a:custClr>
    <a:custClr name="Custom Color">
      <a:srgbClr val="C41300"/>
    </a:custClr>
    <a:custClr name="Custom Color">
      <a:srgbClr val="06C245"/>
    </a:custClr>
    <a:custClr name="Custom Color">
      <a:srgbClr val="008FC8"/>
    </a:custClr>
    <a:custClr name="Custom Color">
      <a:srgbClr val="CC0099"/>
    </a:custClr>
  </a:custClrLst>
  <a:extLst>
    <a:ext uri="{05A4C25C-085E-4340-85A3-A5531E510DB2}">
      <thm15:themeFamily xmlns:thm15="http://schemas.microsoft.com/office/thememl/2012/main" name="Theme1" id="{C3ACF89D-EF25-4E26-8040-C44E80559E2C}" vid="{2BBBECC5-A469-43A4-B3AE-CC1C10D1AB97}"/>
    </a:ext>
  </a:extLst>
</a:theme>
</file>

<file path=ppt/theme/theme6.xml><?xml version="1.0" encoding="utf-8"?>
<a:theme xmlns:a="http://schemas.openxmlformats.org/drawingml/2006/main" name="1_Theme3">
  <a:themeElements>
    <a:clrScheme name="FIND 2019">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fontScheme name="Find 2019">
      <a:majorFont>
        <a:latin typeface="Franklin Gothic Medium"/>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w="9525" cap="rnd" cmpd="sng" algn="ctr">
          <a:solidFill>
            <a:schemeClr val="accent6"/>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400"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43ABB6"/>
    </a:custClr>
    <a:custClr name="Custom Color">
      <a:srgbClr val="FFFFFF"/>
    </a:custClr>
    <a:custClr name="Custom Color">
      <a:srgbClr val="000000"/>
    </a:custClr>
    <a:custClr name="Custom Color">
      <a:srgbClr val="D3F4F7"/>
    </a:custClr>
    <a:custClr name="Custom Color">
      <a:srgbClr val="8ED5DC"/>
    </a:custClr>
    <a:custClr name="Custom Color">
      <a:srgbClr val="307C84"/>
    </a:custClr>
    <a:custClr name="Custom Color">
      <a:srgbClr val="EEF1F2"/>
    </a:custClr>
    <a:custClr name="Custom Color">
      <a:srgbClr val="C5CED5"/>
    </a:custClr>
    <a:custClr name="Custom Color">
      <a:srgbClr val="8C9EAB"/>
    </a:custClr>
    <a:custClr name="Custom Color">
      <a:srgbClr val="4C5B68"/>
    </a:custClr>
    <a:custClr name="Custom Color">
      <a:srgbClr val="F2D6F2"/>
    </a:custClr>
    <a:custClr name="Custom Color">
      <a:srgbClr val="B785B7"/>
    </a:custClr>
    <a:custClr name="Custom Color">
      <a:srgbClr val="8B518B"/>
    </a:custClr>
    <a:custClr name="Custom Color">
      <a:srgbClr val="5A2259"/>
    </a:custClr>
    <a:custClr name="Custom Color">
      <a:srgbClr val="FFE6AF"/>
    </a:custClr>
    <a:custClr name="Custom Color">
      <a:srgbClr val="FDC569"/>
    </a:custClr>
    <a:custClr name="Custom Color">
      <a:srgbClr val="F79646"/>
    </a:custClr>
    <a:custClr name="Custom Color">
      <a:srgbClr val="D3553F"/>
    </a:custClr>
    <a:custClr name="Custom Color">
      <a:srgbClr val="DEEFCD"/>
    </a:custClr>
    <a:custClr name="Custom Color">
      <a:srgbClr val="A3C87E"/>
    </a:custClr>
    <a:custClr name="Custom Color">
      <a:srgbClr val="669735"/>
    </a:custClr>
    <a:custClr name="Custom Color">
      <a:srgbClr val="3B680E"/>
    </a:custClr>
    <a:custClr name="Custom Color">
      <a:srgbClr val="D8E7F8"/>
    </a:custClr>
    <a:custClr name="Custom Color">
      <a:srgbClr val="95BADF"/>
    </a:custClr>
    <a:custClr name="Custom Color">
      <a:srgbClr val="4580BB"/>
    </a:custClr>
    <a:custClr name="Custom Color">
      <a:srgbClr val="2F5E8D"/>
    </a:custClr>
    <a:custClr name="Custom Color">
      <a:srgbClr val="F0DCC8"/>
    </a:custClr>
    <a:custClr name="Custom Color">
      <a:srgbClr val="C89D72"/>
    </a:custClr>
    <a:custClr name="Custom Color">
      <a:srgbClr val="8F6235"/>
    </a:custClr>
    <a:custClr name="Custom Color">
      <a:srgbClr val="5F3913"/>
    </a:custClr>
    <a:custClr name="Custom Color">
      <a:srgbClr val="FEEC00"/>
    </a:custClr>
    <a:custClr name="Custom Color">
      <a:srgbClr val="DC6E00"/>
    </a:custClr>
    <a:custClr name="Custom Color">
      <a:srgbClr val="FF0000"/>
    </a:custClr>
    <a:custClr name="Custom Color">
      <a:srgbClr val="C41300"/>
    </a:custClr>
    <a:custClr name="Custom Color">
      <a:srgbClr val="06C245"/>
    </a:custClr>
    <a:custClr name="Custom Color">
      <a:srgbClr val="008FC8"/>
    </a:custClr>
    <a:custClr name="Custom Color">
      <a:srgbClr val="CC0099"/>
    </a:custClr>
  </a:custClrLst>
  <a:extLst>
    <a:ext uri="{05A4C25C-085E-4340-85A3-A5531E510DB2}">
      <thm15:themeFamily xmlns:thm15="http://schemas.microsoft.com/office/thememl/2012/main" name="Theme3" id="{E3002E7B-6EE3-4BCB-91EB-B40B02991C2D}" vid="{7D056E85-7A18-425D-BD11-27DD8688A993}"/>
    </a:ext>
  </a:extLst>
</a:theme>
</file>

<file path=ppt/theme/theme7.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Le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EN_GV0278_16x9_CF2">
  <a:themeElements>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lIns="73152" tIns="73152" rIns="73152" bIns="73152"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latin typeface="+mn-lt"/>
          </a:defRPr>
        </a:defPPr>
      </a:lstStyle>
    </a:txDef>
  </a:objectDefaults>
  <a:extraClrSchemeLst>
    <a:extraClrScheme>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clrMap bg1="lt1" tx1="dk1" bg2="lt2" tx2="dk2" accent1="accent1" accent2="accent2" accent3="accent3" accent4="accent4" accent5="accent5" accent6="accent6" hlink="hlink" folHlink="folHlink"/>
    </a:extraClrScheme>
  </a:extraClrSchemeLst>
  <a:custClrLst>
    <a:custClr name="Teal">
      <a:srgbClr val="57FF7D"/>
    </a:custClr>
    <a:custClr name="WHO Blue">
      <a:srgbClr val="1ABFFF"/>
    </a:custClr>
    <a:custClr name="Lilac">
      <a:srgbClr val="664DFF"/>
    </a:custClr>
    <a:custClr name="Dark Blue">
      <a:srgbClr val="0D40FF"/>
    </a:custClr>
  </a:custClrLst>
  <a:extLst>
    <a:ext uri="{05A4C25C-085E-4340-85A3-A5531E510DB2}">
      <thm15:themeFamily xmlns:thm15="http://schemas.microsoft.com/office/thememl/2012/main" name="EN_GV0278_16x9_CF2.potx" id="{79A6A227-63B2-4EBD-B583-EF5260737FE8}" vid="{E4F2A5CB-6402-43A5-8DD4-9A0BD7F9BA41}"/>
    </a:ext>
  </a:extLst>
</a:theme>
</file>

<file path=ppt/theme/themeOverride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0.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3.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4.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5.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6.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7.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8.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19.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0.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3.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4.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5.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6.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7.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8.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29.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0.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1.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32.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4.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5.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6.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7.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8.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ppt/theme/themeOverride9.xml><?xml version="1.0" encoding="utf-8"?>
<a:themeOverride xmlns:a="http://schemas.openxmlformats.org/drawingml/2006/main">
  <a:clrScheme name="Custom">
    <a:dk1>
      <a:srgbClr val="7F7F7F"/>
    </a:dk1>
    <a:lt1>
      <a:srgbClr val="FFFFFF"/>
    </a:lt1>
    <a:dk2>
      <a:srgbClr val="1E7FB8"/>
    </a:dk2>
    <a:lt2>
      <a:srgbClr val="FFFFFF"/>
    </a:lt2>
    <a:accent1>
      <a:srgbClr val="D9D9D9"/>
    </a:accent1>
    <a:accent2>
      <a:srgbClr val="3092D3"/>
    </a:accent2>
    <a:accent3>
      <a:srgbClr val="1E7FB8"/>
    </a:accent3>
    <a:accent4>
      <a:srgbClr val="4BACC6"/>
    </a:accent4>
    <a:accent5>
      <a:srgbClr val="7F7F7F"/>
    </a:accent5>
    <a:accent6>
      <a:srgbClr val="17375E"/>
    </a:accent6>
    <a:hlink>
      <a:srgbClr val="4BACC6"/>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e73b3f6-a427-4a99-886e-da32c6de835d">
      <Value>6</Value>
      <Value>2</Value>
      <Value>1</Value>
    </TaxCatchAll>
    <b489bfe21c7249aba6a1ae186fa4e51c xmlns="fe73b3f6-a427-4a99-886e-da32c6de835d">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bed60e9a-f1b8-4691-a7e2-534f78067ff3</TermId>
        </TermInfo>
      </Terms>
    </b489bfe21c7249aba6a1ae186fa4e51c>
    <cbaf9fdaaf87475a8d0ae10d3e79318e xmlns="fe73b3f6-a427-4a99-886e-da32c6de835d">
      <Terms xmlns="http://schemas.microsoft.com/office/infopath/2007/PartnerControls">
        <TermInfo xmlns="http://schemas.microsoft.com/office/infopath/2007/PartnerControls">
          <TermName xmlns="http://schemas.microsoft.com/office/infopath/2007/PartnerControls">Active</TermName>
          <TermId xmlns="http://schemas.microsoft.com/office/infopath/2007/PartnerControls">50127695-0d4f-4ac1-ab93-ebc716c3e584</TermId>
        </TermInfo>
      </Terms>
    </cbaf9fdaaf87475a8d0ae10d3e79318e>
    <ECMX_SUMMARY xmlns="4240f11c-4df2-4a37-9be1-bdf0d4dfc218" xsi:nil="true"/>
    <ECMX_ADDITIONALINFO xmlns="4240f11c-4df2-4a37-9be1-bdf0d4dfc218" xsi:nil="true"/>
    <ECMX_OWNER xmlns="fe73b3f6-a427-4a99-886e-da32c6de835d">
      <UserInfo>
        <DisplayName/>
        <AccountId xsi:nil="true"/>
        <AccountType/>
      </UserInfo>
    </ECMX_OWNER>
    <kf1264ba1b22407abef15b09c01e8cf0 xmlns="fe73b3f6-a427-4a99-886e-da32c6de835d">
      <Terms xmlns="http://schemas.microsoft.com/office/infopath/2007/PartnerControls"/>
    </kf1264ba1b22407abef15b09c01e8cf0>
    <o13d78bceb4b4178ab3c456bf4db706a xmlns="fe73b3f6-a427-4a99-886e-da32c6de835d">
      <Terms xmlns="http://schemas.microsoft.com/office/infopath/2007/PartnerControls"/>
    </o13d78bceb4b4178ab3c456bf4db706a>
    <ECMX_PUBLISHDATE xmlns="4240f11c-4df2-4a37-9be1-bdf0d4dfc218" xsi:nil="true"/>
    <ECMX_BUSINESSID xmlns="4240f11c-4df2-4a37-9be1-bdf0d4dfc218" xsi:nil="true"/>
    <c67668d6730c4bc2a26c654fc875ab99 xmlns="fe73b3f6-a427-4a99-886e-da32c6de835d">
      <Terms xmlns="http://schemas.microsoft.com/office/infopath/2007/PartnerControls"/>
    </c67668d6730c4bc2a26c654fc875ab99>
    <na274824997947589a1bfdfb0b645b50 xmlns="fe73b3f6-a427-4a99-886e-da32c6de835d">
      <Terms xmlns="http://schemas.microsoft.com/office/infopath/2007/PartnerControls">
        <TermInfo xmlns="http://schemas.microsoft.com/office/infopath/2007/PartnerControls">
          <TermName xmlns="http://schemas.microsoft.com/office/infopath/2007/PartnerControls">ECDC</TermName>
          <TermId xmlns="http://schemas.microsoft.com/office/infopath/2007/PartnerControls">931345c4-86d9-4b39-a79a-5a8b0b90257f</TermId>
        </TermInfo>
      </Terms>
    </na274824997947589a1bfdfb0b645b50>
    <ECMX_OPERATIONALID xmlns="4240f11c-4df2-4a37-9be1-bdf0d4dfc21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Standard Document" ma:contentTypeID="0x010100EE95EE7DB3A482488E68FA4A7091999F00E9E88A449575E24AAD017D04A46B9265" ma:contentTypeVersion="15" ma:contentTypeDescription="Create a new document." ma:contentTypeScope="" ma:versionID="4e79bcce7b45022b9562c8290958a2bb">
  <xsd:schema xmlns:xsd="http://www.w3.org/2001/XMLSchema" xmlns:xs="http://www.w3.org/2001/XMLSchema" xmlns:p="http://schemas.microsoft.com/office/2006/metadata/properties" xmlns:ns2="4240f11c-4df2-4a37-9be1-bdf0d4dfc218" xmlns:ns3="fe73b3f6-a427-4a99-886e-da32c6de835d" targetNamespace="http://schemas.microsoft.com/office/2006/metadata/properties" ma:root="true" ma:fieldsID="91d6aff3b129be3eee436db3f84feacf" ns2:_="" ns3:_="">
    <xsd:import namespace="4240f11c-4df2-4a37-9be1-bdf0d4dfc218"/>
    <xsd:import namespace="fe73b3f6-a427-4a99-886e-da32c6de835d"/>
    <xsd:element name="properties">
      <xsd:complexType>
        <xsd:sequence>
          <xsd:element name="documentManagement">
            <xsd:complexType>
              <xsd:all>
                <xsd:element ref="ns2:ECMX_SUMMARY" minOccurs="0"/>
                <xsd:element ref="ns3:c67668d6730c4bc2a26c654fc875ab99" minOccurs="0"/>
                <xsd:element ref="ns3:TaxCatchAll" minOccurs="0"/>
                <xsd:element ref="ns3:TaxCatchAllLabel" minOccurs="0"/>
                <xsd:element ref="ns3:o13d78bceb4b4178ab3c456bf4db706a" minOccurs="0"/>
                <xsd:element ref="ns3:na274824997947589a1bfdfb0b645b50" minOccurs="0"/>
                <xsd:element ref="ns3:kf1264ba1b22407abef15b09c01e8cf0" minOccurs="0"/>
                <xsd:element ref="ns3:b489bfe21c7249aba6a1ae186fa4e51c" minOccurs="0"/>
                <xsd:element ref="ns3:cbaf9fdaaf87475a8d0ae10d3e79318e" minOccurs="0"/>
                <xsd:element ref="ns2:ECMX_PUBLISHDATE" minOccurs="0"/>
                <xsd:element ref="ns2:ECMX_BUSINESSID" minOccurs="0"/>
                <xsd:element ref="ns2:ECMX_OPERATIONALID" minOccurs="0"/>
                <xsd:element ref="ns2:ECMX_ADDITIONALINFO" minOccurs="0"/>
                <xsd:element ref="ns3:ECMX_OWN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40f11c-4df2-4a37-9be1-bdf0d4dfc218" elementFormDefault="qualified">
    <xsd:import namespace="http://schemas.microsoft.com/office/2006/documentManagement/types"/>
    <xsd:import namespace="http://schemas.microsoft.com/office/infopath/2007/PartnerControls"/>
    <xsd:element name="ECMX_SUMMARY" ma:index="8" nillable="true" ma:displayName="Summary" ma:description="Short and distinct description of the document" ma:internalName="ECMX_SUMMARY">
      <xsd:simpleType>
        <xsd:restriction base="dms:Note">
          <xsd:maxLength value="255"/>
        </xsd:restriction>
      </xsd:simpleType>
    </xsd:element>
    <xsd:element name="ECMX_PUBLISHDATE" ma:index="23" nillable="true" ma:displayName="Publish Date" ma:description="Enter the date of publication or finalisation of this document" ma:format="DateOnly" ma:internalName="ECMX_PUBLISHDATE">
      <xsd:simpleType>
        <xsd:restriction base="dms:DateTime"/>
      </xsd:simpleType>
    </xsd:element>
    <xsd:element name="ECMX_BUSINESSID" ma:index="24" nillable="true" ma:displayName="Business ID" ma:description="Enter the business identifier of the document such as ECDC/IP/25" ma:internalName="ECMX_BUSINESSID">
      <xsd:simpleType>
        <xsd:restriction base="dms:Text">
          <xsd:maxLength value="255"/>
        </xsd:restriction>
      </xsd:simpleType>
    </xsd:element>
    <xsd:element name="ECMX_OPERATIONALID" ma:index="25" nillable="true" ma:displayName="Operational ID" ma:description="Enter the operational or workflow identifier such as 104.2.2.1" ma:internalName="ECMX_OPERATIONALID">
      <xsd:simpleType>
        <xsd:restriction base="dms:Text">
          <xsd:maxLength value="255"/>
        </xsd:restriction>
      </xsd:simpleType>
    </xsd:element>
    <xsd:element name="ECMX_ADDITIONALINFO" ma:index="26" nillable="true" ma:displayName="Additional Info" ma:description="Provide any additional notes or information about the document" ma:internalName="ECMX_ADDITIONALINFO">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73b3f6-a427-4a99-886e-da32c6de835d" elementFormDefault="qualified">
    <xsd:import namespace="http://schemas.microsoft.com/office/2006/documentManagement/types"/>
    <xsd:import namespace="http://schemas.microsoft.com/office/infopath/2007/PartnerControls"/>
    <xsd:element name="c67668d6730c4bc2a26c654fc875ab99" ma:index="9" nillable="true" ma:taxonomy="true" ma:internalName="c67668d6730c4bc2a26c654fc875ab99" ma:taxonomyFieldName="ECMX_CATEGORYLABEL" ma:displayName="Category Label" ma:fieldId="{c67668d6-730c-4bc2-a26c-654fc875ab99}" ma:taxonomyMulti="true" ma:sspId="14c281f0-fdb2-43d6-8bd5-8268950107ba" ma:termSetId="c558570e-7e10-421a-aae8-97c91a675078"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a0d2c8f0-7250-4c09-8917-c4befca81a1f}" ma:internalName="TaxCatchAll" ma:showField="CatchAllData" ma:web="ab41e61d-5c9e-45fe-9fd9-c0fcfa543eb0">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a0d2c8f0-7250-4c09-8917-c4befca81a1f}" ma:internalName="TaxCatchAllLabel" ma:readOnly="true" ma:showField="CatchAllDataLabel" ma:web="ab41e61d-5c9e-45fe-9fd9-c0fcfa543eb0">
      <xsd:complexType>
        <xsd:complexContent>
          <xsd:extension base="dms:MultiChoiceLookup">
            <xsd:sequence>
              <xsd:element name="Value" type="dms:Lookup" maxOccurs="unbounded" minOccurs="0" nillable="true"/>
            </xsd:sequence>
          </xsd:extension>
        </xsd:complexContent>
      </xsd:complexType>
    </xsd:element>
    <xsd:element name="o13d78bceb4b4178ab3c456bf4db706a" ma:index="13" nillable="true" ma:taxonomy="true" ma:internalName="o13d78bceb4b4178ab3c456bf4db706a" ma:taxonomyFieldName="ECMX_DOCUMENTTYPE" ma:displayName="Document Type" ma:fieldId="{813d78bc-eb4b-4178-ab3c-456bf4db706a}" ma:sspId="14c281f0-fdb2-43d6-8bd5-8268950107ba" ma:termSetId="c389c416-3255-4b96-b67a-477bf9d78a26" ma:anchorId="00000000-0000-0000-0000-000000000000" ma:open="false" ma:isKeyword="false">
      <xsd:complexType>
        <xsd:sequence>
          <xsd:element ref="pc:Terms" minOccurs="0" maxOccurs="1"/>
        </xsd:sequence>
      </xsd:complexType>
    </xsd:element>
    <xsd:element name="na274824997947589a1bfdfb0b645b50" ma:index="15" nillable="true" ma:taxonomy="true" ma:internalName="na274824997947589a1bfdfb0b645b50" ma:taxonomyFieldName="ECMX_ENTITY" ma:displayName="Entity" ma:fieldId="{7a274824-9979-4758-9a1b-fdfb0b645b50}" ma:sspId="14c281f0-fdb2-43d6-8bd5-8268950107ba" ma:termSetId="642df4da-6b01-472d-8f33-07d3ed3a3ad4" ma:anchorId="00000000-0000-0000-0000-000000000000" ma:open="false" ma:isKeyword="false">
      <xsd:complexType>
        <xsd:sequence>
          <xsd:element ref="pc:Terms" minOccurs="0" maxOccurs="1"/>
        </xsd:sequence>
      </xsd:complexType>
    </xsd:element>
    <xsd:element name="kf1264ba1b22407abef15b09c01e8cf0" ma:index="17" nillable="true" ma:taxonomy="true" ma:internalName="kf1264ba1b22407abef15b09c01e8cf0" ma:taxonomyFieldName="ECMX_DISEASEPATHOGEN" ma:displayName="Disease/Pathogen" ma:fieldId="{4f1264ba-1b22-407a-bef1-5b09c01e8cf0}" ma:sspId="14c281f0-fdb2-43d6-8bd5-8268950107ba" ma:termSetId="0299f09b-7697-48da-88c2-893786836ca5" ma:anchorId="00000000-0000-0000-0000-000000000000" ma:open="false" ma:isKeyword="false">
      <xsd:complexType>
        <xsd:sequence>
          <xsd:element ref="pc:Terms" minOccurs="0" maxOccurs="1"/>
        </xsd:sequence>
      </xsd:complexType>
    </xsd:element>
    <xsd:element name="b489bfe21c7249aba6a1ae186fa4e51c" ma:index="19" nillable="true" ma:taxonomy="true" ma:internalName="b489bfe21c7249aba6a1ae186fa4e51c" ma:taxonomyFieldName="ECMX_DOCUMENTSTATUS" ma:displayName="Document Status" ma:default="1;#Draft|bed60e9a-f1b8-4691-a7e2-534f78067ff3" ma:fieldId="{b489bfe2-1c72-49ab-a6a1-ae186fa4e51c}" ma:sspId="14c281f0-fdb2-43d6-8bd5-8268950107ba" ma:termSetId="142c0697-2f33-49ef-84e0-8a01165d72ad" ma:anchorId="00000000-0000-0000-0000-000000000000" ma:open="false" ma:isKeyword="false">
      <xsd:complexType>
        <xsd:sequence>
          <xsd:element ref="pc:Terms" minOccurs="0" maxOccurs="1"/>
        </xsd:sequence>
      </xsd:complexType>
    </xsd:element>
    <xsd:element name="cbaf9fdaaf87475a8d0ae10d3e79318e" ma:index="21" nillable="true" ma:taxonomy="true" ma:internalName="cbaf9fdaaf87475a8d0ae10d3e79318e" ma:taxonomyFieldName="ECMX_LIFECYCLE" ma:displayName="Lifecycle" ma:default="2;#Active|50127695-0d4f-4ac1-ab93-ebc716c3e584" ma:fieldId="{cbaf9fda-af87-475a-8d0a-e10d3e79318e}" ma:sspId="14c281f0-fdb2-43d6-8bd5-8268950107ba" ma:termSetId="84fb9b37-c2b8-4969-9234-b37fe8170d94" ma:anchorId="00000000-0000-0000-0000-000000000000" ma:open="false" ma:isKeyword="false">
      <xsd:complexType>
        <xsd:sequence>
          <xsd:element ref="pc:Terms" minOccurs="0" maxOccurs="1"/>
        </xsd:sequence>
      </xsd:complexType>
    </xsd:element>
    <xsd:element name="ECMX_OWNER" ma:index="27" nillable="true" ma:displayName="Owner" ma:list="UserInfo" ma:SharePointGroup="0" ma:internalName="ECMX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14c281f0-fdb2-43d6-8bd5-8268950107ba" ContentTypeId="0x010100EE95EE7DB3A482488E68FA4A7091999F" PreviousValue="false"/>
</file>

<file path=customXml/itemProps1.xml><?xml version="1.0" encoding="utf-8"?>
<ds:datastoreItem xmlns:ds="http://schemas.openxmlformats.org/officeDocument/2006/customXml" ds:itemID="{5ADDBE0F-0864-4A76-ABC9-387A711396ED}">
  <ds:schemaRefs>
    <ds:schemaRef ds:uri="http://schemas.microsoft.com/sharepoint/v3/contenttype/forms"/>
  </ds:schemaRefs>
</ds:datastoreItem>
</file>

<file path=customXml/itemProps2.xml><?xml version="1.0" encoding="utf-8"?>
<ds:datastoreItem xmlns:ds="http://schemas.openxmlformats.org/officeDocument/2006/customXml" ds:itemID="{7643218A-7DE9-4CC0-90BB-1CCCAC91F9B5}">
  <ds:schemaRefs>
    <ds:schemaRef ds:uri="4240f11c-4df2-4a37-9be1-bdf0d4dfc218"/>
    <ds:schemaRef ds:uri="fe73b3f6-a427-4a99-886e-da32c6de83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2EB5B96-BED2-406A-B570-C3F6A77B2760}">
  <ds:schemaRefs>
    <ds:schemaRef ds:uri="4240f11c-4df2-4a37-9be1-bdf0d4dfc218"/>
    <ds:schemaRef ds:uri="fe73b3f6-a427-4a99-886e-da32c6de83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F356C9F3-CA5B-4D1D-9F84-424457ED5291}">
  <ds:schemaRefs>
    <ds:schemaRef ds:uri="Microsoft.SharePoint.Taxonomy.ContentTypeSync"/>
  </ds:schemaRefs>
</ds:datastoreItem>
</file>

<file path=docMetadata/LabelInfo.xml><?xml version="1.0" encoding="utf-8"?>
<clbl:labelList xmlns:clbl="http://schemas.microsoft.com/office/2020/mipLabelMetadata">
  <clbl:label id="{e1ae1734-edf5-47c2-b34c-0d487d4ec322}" enabled="1" method="Privileged" siteId="{6ad73702-409c-4046-ae59-cc4bea334507}" removed="0"/>
</clbl:labelList>
</file>

<file path=docProps/app.xml><?xml version="1.0" encoding="utf-8"?>
<Properties xmlns="http://schemas.openxmlformats.org/officeDocument/2006/extended-properties" xmlns:vt="http://schemas.openxmlformats.org/officeDocument/2006/docPropsVTypes">
  <TotalTime>44</TotalTime>
  <Words>2598</Words>
  <Application>Microsoft Office PowerPoint</Application>
  <PresentationFormat>Widescreen</PresentationFormat>
  <Paragraphs>201</Paragraphs>
  <Slides>27</Slides>
  <Notes>5</Notes>
  <HiddenSlides>0</HiddenSlides>
  <MMClips>0</MMClips>
  <ScaleCrop>false</ScaleCrop>
  <HeadingPairs>
    <vt:vector size="8" baseType="variant">
      <vt:variant>
        <vt:lpstr>Fonts Used</vt:lpstr>
      </vt:variant>
      <vt:variant>
        <vt:i4>18</vt:i4>
      </vt:variant>
      <vt:variant>
        <vt:lpstr>Theme</vt:lpstr>
      </vt:variant>
      <vt:variant>
        <vt:i4>15</vt:i4>
      </vt:variant>
      <vt:variant>
        <vt:lpstr>Embedded OLE Servers</vt:lpstr>
      </vt:variant>
      <vt:variant>
        <vt:i4>1</vt:i4>
      </vt:variant>
      <vt:variant>
        <vt:lpstr>Slide Titles</vt:lpstr>
      </vt:variant>
      <vt:variant>
        <vt:i4>27</vt:i4>
      </vt:variant>
    </vt:vector>
  </HeadingPairs>
  <TitlesOfParts>
    <vt:vector size="61" baseType="lpstr">
      <vt:lpstr>Arial</vt:lpstr>
      <vt:lpstr>Arial Black</vt:lpstr>
      <vt:lpstr>Calibri</vt:lpstr>
      <vt:lpstr>Corbel</vt:lpstr>
      <vt:lpstr>Ebrima</vt:lpstr>
      <vt:lpstr>Franklin Gothic Book</vt:lpstr>
      <vt:lpstr>Franklin Gothic Medium</vt:lpstr>
      <vt:lpstr>Helvetica</vt:lpstr>
      <vt:lpstr>Leelawadee</vt:lpstr>
      <vt:lpstr>Museo Sans Cyrl 100</vt:lpstr>
      <vt:lpstr>Museo Sans Cyrl 300</vt:lpstr>
      <vt:lpstr>Museo Sans Cyrl 500</vt:lpstr>
      <vt:lpstr>Museo Sans Cyrl 700</vt:lpstr>
      <vt:lpstr>Museo Sans Cyrl 900</vt:lpstr>
      <vt:lpstr>Tahoma</vt:lpstr>
      <vt:lpstr>Times New Roman</vt:lpstr>
      <vt:lpstr>Trebuchet MS</vt:lpstr>
      <vt:lpstr>Wingdings</vt:lpstr>
      <vt:lpstr>ECDC_PowerPoint_Template_2017</vt:lpstr>
      <vt:lpstr>Специальное оформление</vt:lpstr>
      <vt:lpstr>3_FIND 2017 - 07-2017</vt:lpstr>
      <vt:lpstr>Theme3</vt:lpstr>
      <vt:lpstr>1_Theme1</vt:lpstr>
      <vt:lpstr>1_Theme3</vt:lpstr>
      <vt:lpstr>2_Office Theme</vt:lpstr>
      <vt:lpstr>1_Leer</vt:lpstr>
      <vt:lpstr>EN_GV0278_16x9_CF2</vt:lpstr>
      <vt:lpstr>1_EN_GV0278_16x9_CF2</vt:lpstr>
      <vt:lpstr>*FIND template*</vt:lpstr>
      <vt:lpstr>1_*FIND template*</vt:lpstr>
      <vt:lpstr>Benutzerdefiniertes Design</vt:lpstr>
      <vt:lpstr>FoHM Sve 2018</vt:lpstr>
      <vt:lpstr>WHO Grid 16:9 - 13384</vt:lpstr>
      <vt:lpstr>think-cell Slide</vt:lpstr>
      <vt:lpstr>Tuberculosis situation in the EU/EEA, 2021</vt:lpstr>
      <vt:lpstr>TB notifications, EU/EEA, 2022</vt:lpstr>
      <vt:lpstr>Notified new and relapse TB cases, EU/EEA*, 2013–2022</vt:lpstr>
      <vt:lpstr>TB notification rate by sex and age group, EU/EEA, 2022</vt:lpstr>
      <vt:lpstr>TB notification rate by age group, EU/EEA*,  2013–2022</vt:lpstr>
      <vt:lpstr>TB in children under 15 years, EU/EEA, 2022</vt:lpstr>
      <vt:lpstr>Confirmed TB cases*, EU/EEA, 2022</vt:lpstr>
      <vt:lpstr>Extrapulmonary TB, EU/EEA, 2022</vt:lpstr>
      <vt:lpstr>TB in persons of foreign origin*, EU/EEA, 2022</vt:lpstr>
      <vt:lpstr>TB cases in persons of foreign origin*, EU/EEA†, 2013–2022</vt:lpstr>
      <vt:lpstr>RR/MDR TB cases with available DST results, EU/EEA*, 2022</vt:lpstr>
      <vt:lpstr>Proportion of RR/MDR TB, EU/EEA*, 2022</vt:lpstr>
      <vt:lpstr>RR/MDR TB cases and proportion of all RR/MDR TB cases tested for drug resistance, EU/EEA*, 2013–2022</vt:lpstr>
      <vt:lpstr>Pulmonary pre-XDR TB cases, EU/EEA, 2022</vt:lpstr>
      <vt:lpstr>Proportion of pulmonary pre-XDR TB among RR/MDR TB cases with 2nd line DST results, EU/EEA*, 2022</vt:lpstr>
      <vt:lpstr>Pulmonary pre-XDR TB cases and proportion among all pulmonary RR/MDR TB cases with 2nd line DST results, EU/EEA*, 2013–2022</vt:lpstr>
      <vt:lpstr>TB/HIV co-infection†, EU/EEA*, 2022</vt:lpstr>
      <vt:lpstr>HIV-positive TB cases  and proportion among all those tested, EU/EEA, 2013–2022*</vt:lpstr>
      <vt:lpstr>Treatment success after 12 months among  new and relapse TB cases notified in 2021, EU/EEA*, 2022</vt:lpstr>
      <vt:lpstr>Treatment success after 12 months among new &amp; relapse TB cases notified in 2021, EU/EEA*, 2022</vt:lpstr>
      <vt:lpstr>Treatment success after 12 months among new and relapse TB cases notified 2012–2021, EU/EEA*, 2022 </vt:lpstr>
      <vt:lpstr>Treatment success after 24 months among RR/MDR TB cases started on second-line treatment in 2020, EU/EEA*, 2022</vt:lpstr>
      <vt:lpstr>Treatment success after 24 months among RR/MDR TB cases started on second-line treatment in 2020, EU/EEA*, 2022</vt:lpstr>
      <vt:lpstr>Treatment outcomes among RR/MDR TB cases* started on second-line treatment in 2017–2020, EU/EEA†, 2022</vt:lpstr>
      <vt:lpstr>Treatment success after 24 months among  pre-XDR TB cases started on second-line treatment in 2020, EU/EEA*, 2022</vt:lpstr>
      <vt:lpstr>Treatment success after 24 months among  pre-XDR TB cases started on second-line treatment in 2020, EU/EEA*, 2022</vt:lpstr>
      <vt:lpstr>Treatment outcomes new &amp; relapse TB, RR/MDR, pre-XDR, XDR TB cases, EU/EEA*, 20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ECDC/WHO EURO CALL</dc:title>
  <dc:subject/>
  <dc:creator>PEBODY, Richard</dc:creator>
  <cp:keywords/>
  <cp:lastModifiedBy>Veronica Cristea</cp:lastModifiedBy>
  <cp:revision>7</cp:revision>
  <dcterms:created xsi:type="dcterms:W3CDTF">2020-08-18T11:49:36Z</dcterms:created>
  <dcterms:modified xsi:type="dcterms:W3CDTF">2024-03-14T07:2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5EE7DB3A482488E68FA4A7091999F00E9E88A449575E24AAD017D04A46B9265</vt:lpwstr>
  </property>
  <property fmtid="{D5CDD505-2E9C-101B-9397-08002B2CF9AE}" pid="3" name="edrm_function">
    <vt:lpwstr>11746;#Not specified|92bcb685-885a-40ff-9744-3825164b3c86</vt:lpwstr>
  </property>
  <property fmtid="{D5CDD505-2E9C-101B-9397-08002B2CF9AE}" pid="4" name="edrm_document_type">
    <vt:lpwstr>11745;#Not specified|581b895d-77e9-46ec-8c5e-850161f4a515</vt:lpwstr>
  </property>
  <property fmtid="{D5CDD505-2E9C-101B-9397-08002B2CF9AE}" pid="5" name="TaxKeyword">
    <vt:lpwstr/>
  </property>
  <property fmtid="{D5CDD505-2E9C-101B-9397-08002B2CF9AE}" pid="6" name="edrm_status">
    <vt:lpwstr>11744;#Draft|210dfa89-0dc2-4261-944c-0ccc26c12bbd</vt:lpwstr>
  </property>
  <property fmtid="{D5CDD505-2E9C-101B-9397-08002B2CF9AE}" pid="7" name="edrm_disease">
    <vt:lpwstr>11984;#Novel coronavirus (2019-nCoV)|362fd7c5-51a9-4ee9-bc62-dbcb725faa4d</vt:lpwstr>
  </property>
  <property fmtid="{D5CDD505-2E9C-101B-9397-08002B2CF9AE}" pid="8" name="edrm_security">
    <vt:lpwstr>11748;#Restricted:Internal|caa52167-d17e-46dd-9322-12d83d57eefa</vt:lpwstr>
  </property>
  <property fmtid="{D5CDD505-2E9C-101B-9397-08002B2CF9AE}" pid="9" name="edrm_language">
    <vt:lpwstr/>
  </property>
  <property fmtid="{D5CDD505-2E9C-101B-9397-08002B2CF9AE}" pid="10" name="_dlc_DocIdItemGuid">
    <vt:lpwstr>bbad1eb8-d612-46d6-b94f-4d3fc12cb616</vt:lpwstr>
  </property>
  <property fmtid="{D5CDD505-2E9C-101B-9397-08002B2CF9AE}" pid="11" name="edrm_entity">
    <vt:lpwstr>11932;#Not specified|fad8187c-04b0-4558-881b-24271aee3920</vt:lpwstr>
  </property>
  <property fmtid="{D5CDD505-2E9C-101B-9397-08002B2CF9AE}" pid="12" name="edrm_institution">
    <vt:lpwstr>11931;#Not specified|32b61ae9-a8e3-4f59-a483-92e9ff78eddd</vt:lpwstr>
  </property>
  <property fmtid="{D5CDD505-2E9C-101B-9397-08002B2CF9AE}" pid="13" name="edrm_spatial">
    <vt:lpwstr/>
  </property>
  <property fmtid="{D5CDD505-2E9C-101B-9397-08002B2CF9AE}" pid="14" name="MediaServiceImageTags">
    <vt:lpwstr/>
  </property>
  <property fmtid="{D5CDD505-2E9C-101B-9397-08002B2CF9AE}" pid="15" name="ECMX_LIFECYCLE">
    <vt:lpwstr>2;#Active|50127695-0d4f-4ac1-ab93-ebc716c3e584</vt:lpwstr>
  </property>
  <property fmtid="{D5CDD505-2E9C-101B-9397-08002B2CF9AE}" pid="16" name="lcf76f155ced4ddcb4097134ff3c332f">
    <vt:lpwstr/>
  </property>
  <property fmtid="{D5CDD505-2E9C-101B-9397-08002B2CF9AE}" pid="17" name="ECMX_DISEASEPATHOGEN">
    <vt:lpwstr/>
  </property>
  <property fmtid="{D5CDD505-2E9C-101B-9397-08002B2CF9AE}" pid="18" name="ECMX_DOCUMENTTYPE">
    <vt:lpwstr/>
  </property>
  <property fmtid="{D5CDD505-2E9C-101B-9397-08002B2CF9AE}" pid="19" name="ECMX_CATEGORYLABEL">
    <vt:lpwstr/>
  </property>
  <property fmtid="{D5CDD505-2E9C-101B-9397-08002B2CF9AE}" pid="20" name="ECMX_DOCUMENTSTATUS">
    <vt:lpwstr>1;#Draft|bed60e9a-f1b8-4691-a7e2-534f78067ff3</vt:lpwstr>
  </property>
  <property fmtid="{D5CDD505-2E9C-101B-9397-08002B2CF9AE}" pid="21" name="SARMS Document Type">
    <vt:lpwstr>Presentation [PRE]</vt:lpwstr>
  </property>
  <property fmtid="{D5CDD505-2E9C-101B-9397-08002B2CF9AE}" pid="22" name="SARMS Document Format">
    <vt:lpwstr>Main output</vt:lpwstr>
  </property>
  <property fmtid="{D5CDD505-2E9C-101B-9397-08002B2CF9AE}" pid="23" name="ClassificationContentMarkingHeaderText">
    <vt:lpwstr>ECDC NORMAL</vt:lpwstr>
  </property>
  <property fmtid="{D5CDD505-2E9C-101B-9397-08002B2CF9AE}" pid="24" name="ECMX_ENTITY">
    <vt:lpwstr>6;#ECDC|931345c4-86d9-4b39-a79a-5a8b0b90257f</vt:lpwstr>
  </property>
</Properties>
</file>